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g"/>
  <Default Extension="MOV" ContentType="video/quicktime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4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5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media/image44.jp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833" r:id="rId5"/>
    <p:sldMasterId id="2147483677" r:id="rId6"/>
    <p:sldMasterId id="2147483733" r:id="rId7"/>
    <p:sldMasterId id="2147483754" r:id="rId8"/>
    <p:sldMasterId id="2147483858" r:id="rId9"/>
    <p:sldMasterId id="2147483846" r:id="rId10"/>
  </p:sldMasterIdLst>
  <p:notesMasterIdLst>
    <p:notesMasterId r:id="rId48"/>
  </p:notesMasterIdLst>
  <p:sldIdLst>
    <p:sldId id="257" r:id="rId11"/>
    <p:sldId id="2147471081" r:id="rId12"/>
    <p:sldId id="2147471018" r:id="rId13"/>
    <p:sldId id="383" r:id="rId14"/>
    <p:sldId id="2147471019" r:id="rId15"/>
    <p:sldId id="2147471020" r:id="rId16"/>
    <p:sldId id="2147471045" r:id="rId17"/>
    <p:sldId id="2147471063" r:id="rId18"/>
    <p:sldId id="261" r:id="rId19"/>
    <p:sldId id="2147471071" r:id="rId20"/>
    <p:sldId id="2147471072" r:id="rId21"/>
    <p:sldId id="2147471062" r:id="rId22"/>
    <p:sldId id="265" r:id="rId23"/>
    <p:sldId id="266" r:id="rId24"/>
    <p:sldId id="267" r:id="rId25"/>
    <p:sldId id="2147471064" r:id="rId26"/>
    <p:sldId id="2147471074" r:id="rId27"/>
    <p:sldId id="2147471075" r:id="rId28"/>
    <p:sldId id="2147471076" r:id="rId29"/>
    <p:sldId id="2147471077" r:id="rId30"/>
    <p:sldId id="2147471078" r:id="rId31"/>
    <p:sldId id="2147471079" r:id="rId32"/>
    <p:sldId id="2147471080" r:id="rId33"/>
    <p:sldId id="2147471065" r:id="rId34"/>
    <p:sldId id="2147471069" r:id="rId35"/>
    <p:sldId id="2147471067" r:id="rId36"/>
    <p:sldId id="2147471054" r:id="rId37"/>
    <p:sldId id="2147471055" r:id="rId38"/>
    <p:sldId id="2147471056" r:id="rId39"/>
    <p:sldId id="2147471058" r:id="rId40"/>
    <p:sldId id="2147471059" r:id="rId41"/>
    <p:sldId id="2147471057" r:id="rId42"/>
    <p:sldId id="2147471068" r:id="rId43"/>
    <p:sldId id="2147471060" r:id="rId44"/>
    <p:sldId id="2147471066" r:id="rId45"/>
    <p:sldId id="2147470346" r:id="rId46"/>
    <p:sldId id="2147376590" r:id="rId47"/>
  </p:sldIdLst>
  <p:sldSz cx="12192000" cy="6858000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F0B0F"/>
    <a:srgbClr val="FFCB05"/>
    <a:srgbClr val="004F70"/>
    <a:srgbClr val="F7CF47"/>
    <a:srgbClr val="A6A6A6"/>
    <a:srgbClr val="FFC000"/>
    <a:srgbClr val="F311C3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13"/>
    <p:restoredTop sz="94681"/>
  </p:normalViewPr>
  <p:slideViewPr>
    <p:cSldViewPr snapToGrid="0">
      <p:cViewPr varScale="1">
        <p:scale>
          <a:sx n="74" d="100"/>
          <a:sy n="74" d="100"/>
        </p:scale>
        <p:origin x="1104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8E2D3297-7BB2-4FC4-BE92-B11866E834C1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304C5E4E-AEC1-407A-990F-2E5757BED7A8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43215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9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38.jpe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5.bin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.xml"/><Relationship Id="rId4" Type="http://schemas.openxmlformats.org/officeDocument/2006/relationships/image" Target="../media/image33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.xml"/><Relationship Id="rId4" Type="http://schemas.openxmlformats.org/officeDocument/2006/relationships/image" Target="../media/image33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4" Type="http://schemas.openxmlformats.org/officeDocument/2006/relationships/image" Target="../media/image33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4" Type="http://schemas.openxmlformats.org/officeDocument/2006/relationships/image" Target="../media/image33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Relationship Id="rId4" Type="http://schemas.openxmlformats.org/officeDocument/2006/relationships/image" Target="../media/image33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4" Type="http://schemas.openxmlformats.org/officeDocument/2006/relationships/image" Target="../media/image33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4" Type="http://schemas.openxmlformats.org/officeDocument/2006/relationships/image" Target="../media/image33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4" Type="http://schemas.openxmlformats.org/officeDocument/2006/relationships/image" Target="../media/image33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Relationship Id="rId4" Type="http://schemas.openxmlformats.org/officeDocument/2006/relationships/image" Target="../media/image33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Relationship Id="rId4" Type="http://schemas.openxmlformats.org/officeDocument/2006/relationships/image" Target="../media/image33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Relationship Id="rId4" Type="http://schemas.openxmlformats.org/officeDocument/2006/relationships/image" Target="../media/image33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.xml"/><Relationship Id="rId4" Type="http://schemas.openxmlformats.org/officeDocument/2006/relationships/image" Target="../media/image33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.xml"/><Relationship Id="rId4" Type="http://schemas.openxmlformats.org/officeDocument/2006/relationships/image" Target="../media/image3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.xml"/><Relationship Id="rId4" Type="http://schemas.openxmlformats.org/officeDocument/2006/relationships/image" Target="../media/image33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4.xml"/><Relationship Id="rId4" Type="http://schemas.openxmlformats.org/officeDocument/2006/relationships/image" Target="../media/image33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.xml"/><Relationship Id="rId4" Type="http://schemas.openxmlformats.org/officeDocument/2006/relationships/image" Target="../media/image33.emf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6.xml"/><Relationship Id="rId4" Type="http://schemas.openxmlformats.org/officeDocument/2006/relationships/image" Target="../media/image33.emf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7.xml"/><Relationship Id="rId4" Type="http://schemas.openxmlformats.org/officeDocument/2006/relationships/image" Target="../media/image33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8.xml"/><Relationship Id="rId4" Type="http://schemas.openxmlformats.org/officeDocument/2006/relationships/image" Target="../media/image33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Relationship Id="rId4" Type="http://schemas.openxmlformats.org/officeDocument/2006/relationships/image" Target="../media/image33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0.xml"/><Relationship Id="rId4" Type="http://schemas.openxmlformats.org/officeDocument/2006/relationships/image" Target="../media/image33.emf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0.png"/><Relationship Id="rId4" Type="http://schemas.openxmlformats.org/officeDocument/2006/relationships/image" Target="../media/image25.pn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2.emf"/><Relationship Id="rId4" Type="http://schemas.openxmlformats.org/officeDocument/2006/relationships/oleObject" Target="../embeddings/oleObject1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33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5.sv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4.sv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with image n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ection name here">
            <a:extLst>
              <a:ext uri="{FF2B5EF4-FFF2-40B4-BE49-F238E27FC236}">
                <a16:creationId xmlns:a16="http://schemas.microsoft.com/office/drawing/2014/main" id="{F841A614-AEC1-CF40-8894-3FEECD995A46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25" name="Section name here">
            <a:extLst>
              <a:ext uri="{FF2B5EF4-FFF2-40B4-BE49-F238E27FC236}">
                <a16:creationId xmlns:a16="http://schemas.microsoft.com/office/drawing/2014/main" id="{E6511A7E-C0B9-6042-AEB6-1D8D3F3E7787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CDF80BE-6831-264D-A275-19546B18D8B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14489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with image n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ge">
            <a:extLst>
              <a:ext uri="{FF2B5EF4-FFF2-40B4-BE49-F238E27FC236}">
                <a16:creationId xmlns:a16="http://schemas.microsoft.com/office/drawing/2014/main" id="{81B3E47C-CC59-344A-AA3D-0607D0763641}"/>
              </a:ext>
            </a:extLst>
          </p:cNvPr>
          <p:cNvSpPr txBox="1"/>
          <p:nvPr userDrawn="1"/>
        </p:nvSpPr>
        <p:spPr>
          <a:xfrm>
            <a:off x="23012400" y="619820"/>
            <a:ext cx="453650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 defTabSz="825500">
              <a:lnSpc>
                <a:spcPct val="100000"/>
              </a:lnSpc>
              <a:spcBef>
                <a:spcPts val="0"/>
              </a:spcBef>
              <a:defRPr sz="1100">
                <a:solidFill>
                  <a:srgbClr val="000000"/>
                </a:solidFill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rPr sz="1100"/>
              <a:t>Page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B03BB9D3-C109-054E-8BF7-6F5417A9AC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39185" y="256461"/>
            <a:ext cx="1066111" cy="533056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D11AF9A5-86DD-2D42-B55D-6D075361C94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25405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3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489567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7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05946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3047"/>
            <a:ext cx="12191999" cy="685495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7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749873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7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767710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Image 0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DDB2BD-4EA3-4FB8-AB1E-76C86DE937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7576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DDB2BD-4EA3-4FB8-AB1E-76C86DE937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64A223-4024-4FE9-A336-14D39A358BD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0" i="0" baseline="0">
              <a:latin typeface="MTN Brighter Sans Bold" panose="00000800000000000000" pitchFamily="2" charset="0"/>
              <a:ea typeface="+mj-ea"/>
              <a:cs typeface="+mj-cs"/>
              <a:sym typeface="MTN Brighter Sans Bold" panose="00000800000000000000" pitchFamily="2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A9FABE97-3ADA-4975-88EB-5C574E9C1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9899" y="5370241"/>
            <a:ext cx="7034115" cy="550617"/>
          </a:xfrm>
          <a:prstGeom prst="rect">
            <a:avLst/>
          </a:prstGeom>
        </p:spPr>
        <p:txBody>
          <a:bodyPr lIns="0" anchor="b" anchorCtr="0"/>
          <a:lstStyle>
            <a:lvl1pPr algn="r">
              <a:lnSpc>
                <a:spcPct val="100000"/>
              </a:lnSpc>
              <a:spcBef>
                <a:spcPts val="0"/>
              </a:spcBef>
              <a:defRPr sz="28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753672C4-E29B-4FD9-9E08-1586C20F7F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49899" y="5966401"/>
            <a:ext cx="7034114" cy="378837"/>
          </a:xfrm>
          <a:prstGeom prst="rect">
            <a:avLst/>
          </a:prstGeom>
          <a:noFill/>
        </p:spPr>
        <p:txBody>
          <a:bodyPr lIns="0" tIns="36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8C291A3-B2F5-47B1-84B8-528CCA56BE2D}"/>
              </a:ext>
            </a:extLst>
          </p:cNvPr>
          <p:cNvGrpSpPr/>
          <p:nvPr userDrawn="1"/>
        </p:nvGrpSpPr>
        <p:grpSpPr>
          <a:xfrm>
            <a:off x="9776851" y="379685"/>
            <a:ext cx="1996684" cy="961753"/>
            <a:chOff x="11045825" y="379685"/>
            <a:chExt cx="727710" cy="350520"/>
          </a:xfrm>
        </p:grpSpPr>
        <p:grpSp>
          <p:nvGrpSpPr>
            <p:cNvPr id="20" name="Graphic 20">
              <a:extLst>
                <a:ext uri="{FF2B5EF4-FFF2-40B4-BE49-F238E27FC236}">
                  <a16:creationId xmlns:a16="http://schemas.microsoft.com/office/drawing/2014/main" id="{923C10CD-B031-445E-BE9F-970877416D29}"/>
                </a:ext>
              </a:extLst>
            </p:cNvPr>
            <p:cNvGrpSpPr/>
            <p:nvPr userDrawn="1"/>
          </p:nvGrpSpPr>
          <p:grpSpPr>
            <a:xfrm>
              <a:off x="11219180" y="486365"/>
              <a:ext cx="381952" cy="125729"/>
              <a:chOff x="11219180" y="459203"/>
              <a:chExt cx="381952" cy="125729"/>
            </a:xfrm>
            <a:solidFill>
              <a:schemeClr val="accent1"/>
            </a:solidFill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42E9B513-655A-4F2E-A792-8C486E8D5BFD}"/>
                  </a:ext>
                </a:extLst>
              </p:cNvPr>
              <p:cNvSpPr/>
              <p:nvPr/>
            </p:nvSpPr>
            <p:spPr>
              <a:xfrm>
                <a:off x="11219180" y="459203"/>
                <a:ext cx="124777" cy="125729"/>
              </a:xfrm>
              <a:custGeom>
                <a:avLst/>
                <a:gdLst>
                  <a:gd name="connsiteX0" fmla="*/ 124777 w 124777"/>
                  <a:gd name="connsiteY0" fmla="*/ 0 h 125729"/>
                  <a:gd name="connsiteX1" fmla="*/ 124777 w 124777"/>
                  <a:gd name="connsiteY1" fmla="*/ 125730 h 125729"/>
                  <a:gd name="connsiteX2" fmla="*/ 92392 w 124777"/>
                  <a:gd name="connsiteY2" fmla="*/ 125730 h 125729"/>
                  <a:gd name="connsiteX3" fmla="*/ 92392 w 124777"/>
                  <a:gd name="connsiteY3" fmla="*/ 55245 h 125729"/>
                  <a:gd name="connsiteX4" fmla="*/ 70485 w 124777"/>
                  <a:gd name="connsiteY4" fmla="*/ 89535 h 125729"/>
                  <a:gd name="connsiteX5" fmla="*/ 53340 w 124777"/>
                  <a:gd name="connsiteY5" fmla="*/ 89535 h 125729"/>
                  <a:gd name="connsiteX6" fmla="*/ 29527 w 124777"/>
                  <a:gd name="connsiteY6" fmla="*/ 55245 h 125729"/>
                  <a:gd name="connsiteX7" fmla="*/ 29527 w 124777"/>
                  <a:gd name="connsiteY7" fmla="*/ 125730 h 125729"/>
                  <a:gd name="connsiteX8" fmla="*/ 0 w 124777"/>
                  <a:gd name="connsiteY8" fmla="*/ 125730 h 125729"/>
                  <a:gd name="connsiteX9" fmla="*/ 0 w 124777"/>
                  <a:gd name="connsiteY9" fmla="*/ 0 h 125729"/>
                  <a:gd name="connsiteX10" fmla="*/ 30480 w 124777"/>
                  <a:gd name="connsiteY10" fmla="*/ 0 h 125729"/>
                  <a:gd name="connsiteX11" fmla="*/ 64770 w 124777"/>
                  <a:gd name="connsiteY11" fmla="*/ 49530 h 125729"/>
                  <a:gd name="connsiteX12" fmla="*/ 95250 w 124777"/>
                  <a:gd name="connsiteY12" fmla="*/ 0 h 125729"/>
                  <a:gd name="connsiteX13" fmla="*/ 124777 w 124777"/>
                  <a:gd name="connsiteY13" fmla="*/ 0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4777" h="125729">
                    <a:moveTo>
                      <a:pt x="124777" y="0"/>
                    </a:moveTo>
                    <a:lnTo>
                      <a:pt x="124777" y="125730"/>
                    </a:lnTo>
                    <a:lnTo>
                      <a:pt x="92392" y="125730"/>
                    </a:lnTo>
                    <a:lnTo>
                      <a:pt x="92392" y="55245"/>
                    </a:lnTo>
                    <a:lnTo>
                      <a:pt x="70485" y="89535"/>
                    </a:lnTo>
                    <a:lnTo>
                      <a:pt x="53340" y="89535"/>
                    </a:lnTo>
                    <a:lnTo>
                      <a:pt x="29527" y="55245"/>
                    </a:lnTo>
                    <a:lnTo>
                      <a:pt x="29527" y="125730"/>
                    </a:lnTo>
                    <a:lnTo>
                      <a:pt x="0" y="125730"/>
                    </a:lnTo>
                    <a:lnTo>
                      <a:pt x="0" y="0"/>
                    </a:lnTo>
                    <a:lnTo>
                      <a:pt x="30480" y="0"/>
                    </a:lnTo>
                    <a:lnTo>
                      <a:pt x="64770" y="49530"/>
                    </a:lnTo>
                    <a:lnTo>
                      <a:pt x="95250" y="0"/>
                    </a:lnTo>
                    <a:lnTo>
                      <a:pt x="124777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433B8A5-8642-421A-8B37-6ADD9E06BB81}"/>
                  </a:ext>
                </a:extLst>
              </p:cNvPr>
              <p:cNvSpPr/>
              <p:nvPr/>
            </p:nvSpPr>
            <p:spPr>
              <a:xfrm>
                <a:off x="11360150" y="459203"/>
                <a:ext cx="111442" cy="125729"/>
              </a:xfrm>
              <a:custGeom>
                <a:avLst/>
                <a:gdLst>
                  <a:gd name="connsiteX0" fmla="*/ 0 w 111442"/>
                  <a:gd name="connsiteY0" fmla="*/ 28575 h 125729"/>
                  <a:gd name="connsiteX1" fmla="*/ 0 w 111442"/>
                  <a:gd name="connsiteY1" fmla="*/ 0 h 125729"/>
                  <a:gd name="connsiteX2" fmla="*/ 111443 w 111442"/>
                  <a:gd name="connsiteY2" fmla="*/ 0 h 125729"/>
                  <a:gd name="connsiteX3" fmla="*/ 111443 w 111442"/>
                  <a:gd name="connsiteY3" fmla="*/ 28575 h 125729"/>
                  <a:gd name="connsiteX4" fmla="*/ 72390 w 111442"/>
                  <a:gd name="connsiteY4" fmla="*/ 28575 h 125729"/>
                  <a:gd name="connsiteX5" fmla="*/ 72390 w 111442"/>
                  <a:gd name="connsiteY5" fmla="*/ 125730 h 125729"/>
                  <a:gd name="connsiteX6" fmla="*/ 39052 w 111442"/>
                  <a:gd name="connsiteY6" fmla="*/ 125730 h 125729"/>
                  <a:gd name="connsiteX7" fmla="*/ 39052 w 111442"/>
                  <a:gd name="connsiteY7" fmla="*/ 28575 h 125729"/>
                  <a:gd name="connsiteX8" fmla="*/ 0 w 111442"/>
                  <a:gd name="connsiteY8" fmla="*/ 28575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442" h="125729">
                    <a:moveTo>
                      <a:pt x="0" y="28575"/>
                    </a:moveTo>
                    <a:lnTo>
                      <a:pt x="0" y="0"/>
                    </a:lnTo>
                    <a:lnTo>
                      <a:pt x="111443" y="0"/>
                    </a:lnTo>
                    <a:lnTo>
                      <a:pt x="111443" y="28575"/>
                    </a:lnTo>
                    <a:lnTo>
                      <a:pt x="72390" y="28575"/>
                    </a:lnTo>
                    <a:lnTo>
                      <a:pt x="72390" y="125730"/>
                    </a:lnTo>
                    <a:lnTo>
                      <a:pt x="39052" y="125730"/>
                    </a:lnTo>
                    <a:lnTo>
                      <a:pt x="39052" y="28575"/>
                    </a:lnTo>
                    <a:lnTo>
                      <a:pt x="0" y="285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683FD7B-4E4C-46A0-9EF1-B13B7F00FF9C}"/>
                  </a:ext>
                </a:extLst>
              </p:cNvPr>
              <p:cNvSpPr/>
              <p:nvPr/>
            </p:nvSpPr>
            <p:spPr>
              <a:xfrm>
                <a:off x="11487785" y="459203"/>
                <a:ext cx="113347" cy="125729"/>
              </a:xfrm>
              <a:custGeom>
                <a:avLst/>
                <a:gdLst>
                  <a:gd name="connsiteX0" fmla="*/ 113347 w 113347"/>
                  <a:gd name="connsiteY0" fmla="*/ 0 h 125729"/>
                  <a:gd name="connsiteX1" fmla="*/ 113347 w 113347"/>
                  <a:gd name="connsiteY1" fmla="*/ 125730 h 125729"/>
                  <a:gd name="connsiteX2" fmla="*/ 85725 w 113347"/>
                  <a:gd name="connsiteY2" fmla="*/ 125730 h 125729"/>
                  <a:gd name="connsiteX3" fmla="*/ 29527 w 113347"/>
                  <a:gd name="connsiteY3" fmla="*/ 54293 h 125729"/>
                  <a:gd name="connsiteX4" fmla="*/ 29527 w 113347"/>
                  <a:gd name="connsiteY4" fmla="*/ 125730 h 125729"/>
                  <a:gd name="connsiteX5" fmla="*/ 0 w 113347"/>
                  <a:gd name="connsiteY5" fmla="*/ 125730 h 125729"/>
                  <a:gd name="connsiteX6" fmla="*/ 0 w 113347"/>
                  <a:gd name="connsiteY6" fmla="*/ 0 h 125729"/>
                  <a:gd name="connsiteX7" fmla="*/ 29527 w 113347"/>
                  <a:gd name="connsiteY7" fmla="*/ 0 h 125729"/>
                  <a:gd name="connsiteX8" fmla="*/ 82867 w 113347"/>
                  <a:gd name="connsiteY8" fmla="*/ 69533 h 125729"/>
                  <a:gd name="connsiteX9" fmla="*/ 82867 w 113347"/>
                  <a:gd name="connsiteY9" fmla="*/ 0 h 125729"/>
                  <a:gd name="connsiteX10" fmla="*/ 113347 w 113347"/>
                  <a:gd name="connsiteY10" fmla="*/ 0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3347" h="125729">
                    <a:moveTo>
                      <a:pt x="113347" y="0"/>
                    </a:moveTo>
                    <a:lnTo>
                      <a:pt x="113347" y="125730"/>
                    </a:lnTo>
                    <a:lnTo>
                      <a:pt x="85725" y="125730"/>
                    </a:lnTo>
                    <a:lnTo>
                      <a:pt x="29527" y="54293"/>
                    </a:lnTo>
                    <a:lnTo>
                      <a:pt x="29527" y="125730"/>
                    </a:lnTo>
                    <a:lnTo>
                      <a:pt x="0" y="125730"/>
                    </a:lnTo>
                    <a:lnTo>
                      <a:pt x="0" y="0"/>
                    </a:lnTo>
                    <a:lnTo>
                      <a:pt x="29527" y="0"/>
                    </a:lnTo>
                    <a:lnTo>
                      <a:pt x="82867" y="69533"/>
                    </a:lnTo>
                    <a:lnTo>
                      <a:pt x="82867" y="0"/>
                    </a:lnTo>
                    <a:lnTo>
                      <a:pt x="113347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</p:grp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4779F89-BF86-4397-BCAC-8E9063A810E2}"/>
                </a:ext>
              </a:extLst>
            </p:cNvPr>
            <p:cNvSpPr/>
            <p:nvPr userDrawn="1"/>
          </p:nvSpPr>
          <p:spPr>
            <a:xfrm>
              <a:off x="11045825" y="379685"/>
              <a:ext cx="727710" cy="350520"/>
            </a:xfrm>
            <a:custGeom>
              <a:avLst/>
              <a:gdLst>
                <a:gd name="connsiteX0" fmla="*/ 727710 w 727710"/>
                <a:gd name="connsiteY0" fmla="*/ 175260 h 350520"/>
                <a:gd name="connsiteX1" fmla="*/ 363855 w 727710"/>
                <a:gd name="connsiteY1" fmla="*/ 350520 h 350520"/>
                <a:gd name="connsiteX2" fmla="*/ 0 w 727710"/>
                <a:gd name="connsiteY2" fmla="*/ 175260 h 350520"/>
                <a:gd name="connsiteX3" fmla="*/ 363855 w 727710"/>
                <a:gd name="connsiteY3" fmla="*/ 0 h 350520"/>
                <a:gd name="connsiteX4" fmla="*/ 727710 w 727710"/>
                <a:gd name="connsiteY4" fmla="*/ 175260 h 35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7710" h="350520">
                  <a:moveTo>
                    <a:pt x="727710" y="175260"/>
                  </a:moveTo>
                  <a:cubicBezTo>
                    <a:pt x="727710" y="272053"/>
                    <a:pt x="564807" y="350520"/>
                    <a:pt x="363855" y="350520"/>
                  </a:cubicBezTo>
                  <a:cubicBezTo>
                    <a:pt x="162903" y="350520"/>
                    <a:pt x="0" y="272053"/>
                    <a:pt x="0" y="175260"/>
                  </a:cubicBezTo>
                  <a:cubicBezTo>
                    <a:pt x="0" y="78467"/>
                    <a:pt x="162903" y="0"/>
                    <a:pt x="363855" y="0"/>
                  </a:cubicBezTo>
                  <a:cubicBezTo>
                    <a:pt x="564807" y="0"/>
                    <a:pt x="727710" y="78467"/>
                    <a:pt x="727710" y="175260"/>
                  </a:cubicBezTo>
                  <a:close/>
                </a:path>
              </a:pathLst>
            </a:custGeom>
            <a:noFill/>
            <a:ln w="571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3317806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Image 01">
    <p:bg>
      <p:bgPr>
        <a:gradFill>
          <a:gsLst>
            <a:gs pos="15000">
              <a:srgbClr val="3F3F3F"/>
            </a:gs>
            <a:gs pos="60000">
              <a:schemeClr val="accent4">
                <a:lumMod val="95000"/>
                <a:lumOff val="5000"/>
              </a:schemeClr>
            </a:gs>
            <a:gs pos="100000">
              <a:schemeClr val="accent4">
                <a:lumMod val="60000"/>
              </a:schemeClr>
            </a:gs>
          </a:gsLst>
          <a:path path="circle">
            <a:fillToRect l="50000" t="130000" r="50000" b="-3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DDB2BD-4EA3-4FB8-AB1E-76C86DE937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7576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DDB2BD-4EA3-4FB8-AB1E-76C86DE937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664A223-4024-4FE9-A336-14D39A358BD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0" i="0" baseline="0">
              <a:latin typeface="MTN Brighter Sans Bold" panose="00000800000000000000" pitchFamily="2" charset="0"/>
              <a:ea typeface="+mj-ea"/>
              <a:cs typeface="+mj-cs"/>
              <a:sym typeface="MTN Brighter Sans Bold" panose="00000800000000000000" pitchFamily="2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A9FABE97-3ADA-4975-88EB-5C574E9C1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54093" y="5327330"/>
            <a:ext cx="7034115" cy="550617"/>
          </a:xfrm>
          <a:prstGeom prst="rect">
            <a:avLst/>
          </a:prstGeom>
        </p:spPr>
        <p:txBody>
          <a:bodyPr lIns="0" anchor="b" anchorCtr="0"/>
          <a:lstStyle>
            <a:lvl1pPr algn="r">
              <a:lnSpc>
                <a:spcPct val="100000"/>
              </a:lnSpc>
              <a:spcBef>
                <a:spcPts val="0"/>
              </a:spcBef>
              <a:defRPr sz="28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753672C4-E29B-4FD9-9E08-1586C20F7F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54093" y="5923490"/>
            <a:ext cx="7034114" cy="378837"/>
          </a:xfrm>
          <a:prstGeom prst="rect">
            <a:avLst/>
          </a:prstGeom>
          <a:noFill/>
        </p:spPr>
        <p:txBody>
          <a:bodyPr lIns="0" tIns="36000" anchor="t" anchorCtr="0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8C291A3-B2F5-47B1-84B8-528CCA56BE2D}"/>
              </a:ext>
            </a:extLst>
          </p:cNvPr>
          <p:cNvGrpSpPr/>
          <p:nvPr userDrawn="1"/>
        </p:nvGrpSpPr>
        <p:grpSpPr>
          <a:xfrm>
            <a:off x="10187709" y="379685"/>
            <a:ext cx="1585826" cy="763853"/>
            <a:chOff x="11045825" y="379685"/>
            <a:chExt cx="727710" cy="350520"/>
          </a:xfrm>
        </p:grpSpPr>
        <p:grpSp>
          <p:nvGrpSpPr>
            <p:cNvPr id="20" name="Graphic 20">
              <a:extLst>
                <a:ext uri="{FF2B5EF4-FFF2-40B4-BE49-F238E27FC236}">
                  <a16:creationId xmlns:a16="http://schemas.microsoft.com/office/drawing/2014/main" id="{923C10CD-B031-445E-BE9F-970877416D29}"/>
                </a:ext>
              </a:extLst>
            </p:cNvPr>
            <p:cNvGrpSpPr/>
            <p:nvPr userDrawn="1"/>
          </p:nvGrpSpPr>
          <p:grpSpPr>
            <a:xfrm>
              <a:off x="11219180" y="486365"/>
              <a:ext cx="381952" cy="125729"/>
              <a:chOff x="11219180" y="459203"/>
              <a:chExt cx="381952" cy="125729"/>
            </a:xfrm>
            <a:solidFill>
              <a:schemeClr val="accent1"/>
            </a:solidFill>
          </p:grpSpPr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42E9B513-655A-4F2E-A792-8C486E8D5BFD}"/>
                  </a:ext>
                </a:extLst>
              </p:cNvPr>
              <p:cNvSpPr/>
              <p:nvPr/>
            </p:nvSpPr>
            <p:spPr>
              <a:xfrm>
                <a:off x="11219180" y="459203"/>
                <a:ext cx="124777" cy="125729"/>
              </a:xfrm>
              <a:custGeom>
                <a:avLst/>
                <a:gdLst>
                  <a:gd name="connsiteX0" fmla="*/ 124777 w 124777"/>
                  <a:gd name="connsiteY0" fmla="*/ 0 h 125729"/>
                  <a:gd name="connsiteX1" fmla="*/ 124777 w 124777"/>
                  <a:gd name="connsiteY1" fmla="*/ 125730 h 125729"/>
                  <a:gd name="connsiteX2" fmla="*/ 92392 w 124777"/>
                  <a:gd name="connsiteY2" fmla="*/ 125730 h 125729"/>
                  <a:gd name="connsiteX3" fmla="*/ 92392 w 124777"/>
                  <a:gd name="connsiteY3" fmla="*/ 55245 h 125729"/>
                  <a:gd name="connsiteX4" fmla="*/ 70485 w 124777"/>
                  <a:gd name="connsiteY4" fmla="*/ 89535 h 125729"/>
                  <a:gd name="connsiteX5" fmla="*/ 53340 w 124777"/>
                  <a:gd name="connsiteY5" fmla="*/ 89535 h 125729"/>
                  <a:gd name="connsiteX6" fmla="*/ 29527 w 124777"/>
                  <a:gd name="connsiteY6" fmla="*/ 55245 h 125729"/>
                  <a:gd name="connsiteX7" fmla="*/ 29527 w 124777"/>
                  <a:gd name="connsiteY7" fmla="*/ 125730 h 125729"/>
                  <a:gd name="connsiteX8" fmla="*/ 0 w 124777"/>
                  <a:gd name="connsiteY8" fmla="*/ 125730 h 125729"/>
                  <a:gd name="connsiteX9" fmla="*/ 0 w 124777"/>
                  <a:gd name="connsiteY9" fmla="*/ 0 h 125729"/>
                  <a:gd name="connsiteX10" fmla="*/ 30480 w 124777"/>
                  <a:gd name="connsiteY10" fmla="*/ 0 h 125729"/>
                  <a:gd name="connsiteX11" fmla="*/ 64770 w 124777"/>
                  <a:gd name="connsiteY11" fmla="*/ 49530 h 125729"/>
                  <a:gd name="connsiteX12" fmla="*/ 95250 w 124777"/>
                  <a:gd name="connsiteY12" fmla="*/ 0 h 125729"/>
                  <a:gd name="connsiteX13" fmla="*/ 124777 w 124777"/>
                  <a:gd name="connsiteY13" fmla="*/ 0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4777" h="125729">
                    <a:moveTo>
                      <a:pt x="124777" y="0"/>
                    </a:moveTo>
                    <a:lnTo>
                      <a:pt x="124777" y="125730"/>
                    </a:lnTo>
                    <a:lnTo>
                      <a:pt x="92392" y="125730"/>
                    </a:lnTo>
                    <a:lnTo>
                      <a:pt x="92392" y="55245"/>
                    </a:lnTo>
                    <a:lnTo>
                      <a:pt x="70485" y="89535"/>
                    </a:lnTo>
                    <a:lnTo>
                      <a:pt x="53340" y="89535"/>
                    </a:lnTo>
                    <a:lnTo>
                      <a:pt x="29527" y="55245"/>
                    </a:lnTo>
                    <a:lnTo>
                      <a:pt x="29527" y="125730"/>
                    </a:lnTo>
                    <a:lnTo>
                      <a:pt x="0" y="125730"/>
                    </a:lnTo>
                    <a:lnTo>
                      <a:pt x="0" y="0"/>
                    </a:lnTo>
                    <a:lnTo>
                      <a:pt x="30480" y="0"/>
                    </a:lnTo>
                    <a:lnTo>
                      <a:pt x="64770" y="49530"/>
                    </a:lnTo>
                    <a:lnTo>
                      <a:pt x="95250" y="0"/>
                    </a:lnTo>
                    <a:lnTo>
                      <a:pt x="124777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433B8A5-8642-421A-8B37-6ADD9E06BB81}"/>
                  </a:ext>
                </a:extLst>
              </p:cNvPr>
              <p:cNvSpPr/>
              <p:nvPr/>
            </p:nvSpPr>
            <p:spPr>
              <a:xfrm>
                <a:off x="11360150" y="459203"/>
                <a:ext cx="111442" cy="125729"/>
              </a:xfrm>
              <a:custGeom>
                <a:avLst/>
                <a:gdLst>
                  <a:gd name="connsiteX0" fmla="*/ 0 w 111442"/>
                  <a:gd name="connsiteY0" fmla="*/ 28575 h 125729"/>
                  <a:gd name="connsiteX1" fmla="*/ 0 w 111442"/>
                  <a:gd name="connsiteY1" fmla="*/ 0 h 125729"/>
                  <a:gd name="connsiteX2" fmla="*/ 111443 w 111442"/>
                  <a:gd name="connsiteY2" fmla="*/ 0 h 125729"/>
                  <a:gd name="connsiteX3" fmla="*/ 111443 w 111442"/>
                  <a:gd name="connsiteY3" fmla="*/ 28575 h 125729"/>
                  <a:gd name="connsiteX4" fmla="*/ 72390 w 111442"/>
                  <a:gd name="connsiteY4" fmla="*/ 28575 h 125729"/>
                  <a:gd name="connsiteX5" fmla="*/ 72390 w 111442"/>
                  <a:gd name="connsiteY5" fmla="*/ 125730 h 125729"/>
                  <a:gd name="connsiteX6" fmla="*/ 39052 w 111442"/>
                  <a:gd name="connsiteY6" fmla="*/ 125730 h 125729"/>
                  <a:gd name="connsiteX7" fmla="*/ 39052 w 111442"/>
                  <a:gd name="connsiteY7" fmla="*/ 28575 h 125729"/>
                  <a:gd name="connsiteX8" fmla="*/ 0 w 111442"/>
                  <a:gd name="connsiteY8" fmla="*/ 28575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442" h="125729">
                    <a:moveTo>
                      <a:pt x="0" y="28575"/>
                    </a:moveTo>
                    <a:lnTo>
                      <a:pt x="0" y="0"/>
                    </a:lnTo>
                    <a:lnTo>
                      <a:pt x="111443" y="0"/>
                    </a:lnTo>
                    <a:lnTo>
                      <a:pt x="111443" y="28575"/>
                    </a:lnTo>
                    <a:lnTo>
                      <a:pt x="72390" y="28575"/>
                    </a:lnTo>
                    <a:lnTo>
                      <a:pt x="72390" y="125730"/>
                    </a:lnTo>
                    <a:lnTo>
                      <a:pt x="39052" y="125730"/>
                    </a:lnTo>
                    <a:lnTo>
                      <a:pt x="39052" y="28575"/>
                    </a:lnTo>
                    <a:lnTo>
                      <a:pt x="0" y="2857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F683FD7B-4E4C-46A0-9EF1-B13B7F00FF9C}"/>
                  </a:ext>
                </a:extLst>
              </p:cNvPr>
              <p:cNvSpPr/>
              <p:nvPr/>
            </p:nvSpPr>
            <p:spPr>
              <a:xfrm>
                <a:off x="11487785" y="459203"/>
                <a:ext cx="113347" cy="125729"/>
              </a:xfrm>
              <a:custGeom>
                <a:avLst/>
                <a:gdLst>
                  <a:gd name="connsiteX0" fmla="*/ 113347 w 113347"/>
                  <a:gd name="connsiteY0" fmla="*/ 0 h 125729"/>
                  <a:gd name="connsiteX1" fmla="*/ 113347 w 113347"/>
                  <a:gd name="connsiteY1" fmla="*/ 125730 h 125729"/>
                  <a:gd name="connsiteX2" fmla="*/ 85725 w 113347"/>
                  <a:gd name="connsiteY2" fmla="*/ 125730 h 125729"/>
                  <a:gd name="connsiteX3" fmla="*/ 29527 w 113347"/>
                  <a:gd name="connsiteY3" fmla="*/ 54293 h 125729"/>
                  <a:gd name="connsiteX4" fmla="*/ 29527 w 113347"/>
                  <a:gd name="connsiteY4" fmla="*/ 125730 h 125729"/>
                  <a:gd name="connsiteX5" fmla="*/ 0 w 113347"/>
                  <a:gd name="connsiteY5" fmla="*/ 125730 h 125729"/>
                  <a:gd name="connsiteX6" fmla="*/ 0 w 113347"/>
                  <a:gd name="connsiteY6" fmla="*/ 0 h 125729"/>
                  <a:gd name="connsiteX7" fmla="*/ 29527 w 113347"/>
                  <a:gd name="connsiteY7" fmla="*/ 0 h 125729"/>
                  <a:gd name="connsiteX8" fmla="*/ 82867 w 113347"/>
                  <a:gd name="connsiteY8" fmla="*/ 69533 h 125729"/>
                  <a:gd name="connsiteX9" fmla="*/ 82867 w 113347"/>
                  <a:gd name="connsiteY9" fmla="*/ 0 h 125729"/>
                  <a:gd name="connsiteX10" fmla="*/ 113347 w 113347"/>
                  <a:gd name="connsiteY10" fmla="*/ 0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3347" h="125729">
                    <a:moveTo>
                      <a:pt x="113347" y="0"/>
                    </a:moveTo>
                    <a:lnTo>
                      <a:pt x="113347" y="125730"/>
                    </a:lnTo>
                    <a:lnTo>
                      <a:pt x="85725" y="125730"/>
                    </a:lnTo>
                    <a:lnTo>
                      <a:pt x="29527" y="54293"/>
                    </a:lnTo>
                    <a:lnTo>
                      <a:pt x="29527" y="125730"/>
                    </a:lnTo>
                    <a:lnTo>
                      <a:pt x="0" y="125730"/>
                    </a:lnTo>
                    <a:lnTo>
                      <a:pt x="0" y="0"/>
                    </a:lnTo>
                    <a:lnTo>
                      <a:pt x="29527" y="0"/>
                    </a:lnTo>
                    <a:lnTo>
                      <a:pt x="82867" y="69533"/>
                    </a:lnTo>
                    <a:lnTo>
                      <a:pt x="82867" y="0"/>
                    </a:lnTo>
                    <a:lnTo>
                      <a:pt x="113347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</p:grp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4779F89-BF86-4397-BCAC-8E9063A810E2}"/>
                </a:ext>
              </a:extLst>
            </p:cNvPr>
            <p:cNvSpPr/>
            <p:nvPr userDrawn="1"/>
          </p:nvSpPr>
          <p:spPr>
            <a:xfrm>
              <a:off x="11045825" y="379685"/>
              <a:ext cx="727710" cy="350520"/>
            </a:xfrm>
            <a:custGeom>
              <a:avLst/>
              <a:gdLst>
                <a:gd name="connsiteX0" fmla="*/ 727710 w 727710"/>
                <a:gd name="connsiteY0" fmla="*/ 175260 h 350520"/>
                <a:gd name="connsiteX1" fmla="*/ 363855 w 727710"/>
                <a:gd name="connsiteY1" fmla="*/ 350520 h 350520"/>
                <a:gd name="connsiteX2" fmla="*/ 0 w 727710"/>
                <a:gd name="connsiteY2" fmla="*/ 175260 h 350520"/>
                <a:gd name="connsiteX3" fmla="*/ 363855 w 727710"/>
                <a:gd name="connsiteY3" fmla="*/ 0 h 350520"/>
                <a:gd name="connsiteX4" fmla="*/ 727710 w 727710"/>
                <a:gd name="connsiteY4" fmla="*/ 175260 h 35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7710" h="350520">
                  <a:moveTo>
                    <a:pt x="727710" y="175260"/>
                  </a:moveTo>
                  <a:cubicBezTo>
                    <a:pt x="727710" y="272053"/>
                    <a:pt x="564807" y="350520"/>
                    <a:pt x="363855" y="350520"/>
                  </a:cubicBezTo>
                  <a:cubicBezTo>
                    <a:pt x="162903" y="350520"/>
                    <a:pt x="0" y="272053"/>
                    <a:pt x="0" y="175260"/>
                  </a:cubicBezTo>
                  <a:cubicBezTo>
                    <a:pt x="0" y="78467"/>
                    <a:pt x="162903" y="0"/>
                    <a:pt x="363855" y="0"/>
                  </a:cubicBezTo>
                  <a:cubicBezTo>
                    <a:pt x="564807" y="0"/>
                    <a:pt x="727710" y="78467"/>
                    <a:pt x="727710" y="175260"/>
                  </a:cubicBezTo>
                  <a:close/>
                </a:path>
              </a:pathLst>
            </a:custGeom>
            <a:noFill/>
            <a:ln w="571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3079814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4CA668-8139-437A-9008-0CF95BC86C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0441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7987" y="1341440"/>
            <a:ext cx="11404599" cy="4967286"/>
          </a:xfrm>
        </p:spPr>
        <p:txBody>
          <a:bodyPr tIns="108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0969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83929C1-47C8-4909-8604-907549F0A00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659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+ 2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59F2AFD2-DAAC-4A95-8238-42E575E14041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392113" y="1692998"/>
            <a:ext cx="5524500" cy="4615727"/>
          </a:xfrm>
        </p:spPr>
        <p:txBody>
          <a:bodyPr/>
          <a:lstStyle/>
          <a:p>
            <a:endParaRPr lang="en-ZA"/>
          </a:p>
        </p:txBody>
      </p:sp>
      <p:sp>
        <p:nvSpPr>
          <p:cNvPr id="9" name="Table Placeholder 7">
            <a:extLst>
              <a:ext uri="{FF2B5EF4-FFF2-40B4-BE49-F238E27FC236}">
                <a16:creationId xmlns:a16="http://schemas.microsoft.com/office/drawing/2014/main" id="{E029B223-19E9-4974-8664-AEE0C48C9C4F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6275389" y="1692998"/>
            <a:ext cx="5524500" cy="4615727"/>
          </a:xfrm>
        </p:spPr>
        <p:txBody>
          <a:bodyPr/>
          <a:lstStyle/>
          <a:p>
            <a:endParaRPr lang="en-Z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742DA5C-BBF4-4D0E-8892-61CE1C781CC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776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0086F7-07AA-8E44-B3DD-A45158F898BC}" type="datetimeFigureOut">
              <a:rPr lang="en-US" smtClean="0"/>
              <a:t>2/2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17D505-307B-974A-A0A8-FA3432F1D6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80957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3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45A79BDF-D266-4451-9E85-E169772993F7}"/>
              </a:ext>
            </a:extLst>
          </p:cNvPr>
          <p:cNvSpPr/>
          <p:nvPr userDrawn="1"/>
        </p:nvSpPr>
        <p:spPr>
          <a:xfrm>
            <a:off x="433887" y="1341432"/>
            <a:ext cx="3584196" cy="4967286"/>
          </a:xfrm>
          <a:prstGeom prst="round2SameRect">
            <a:avLst>
              <a:gd name="adj1" fmla="val 11255"/>
              <a:gd name="adj2" fmla="val 0"/>
            </a:avLst>
          </a:prstGeom>
          <a:solidFill>
            <a:schemeClr val="bg2">
              <a:lumMod val="85000"/>
              <a:lumOff val="1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F7B13583-F936-497D-9470-0AE0069AFCE0}"/>
              </a:ext>
            </a:extLst>
          </p:cNvPr>
          <p:cNvSpPr/>
          <p:nvPr userDrawn="1"/>
        </p:nvSpPr>
        <p:spPr>
          <a:xfrm>
            <a:off x="4329803" y="1341432"/>
            <a:ext cx="3584196" cy="4967286"/>
          </a:xfrm>
          <a:prstGeom prst="round2SameRect">
            <a:avLst>
              <a:gd name="adj1" fmla="val 11771"/>
              <a:gd name="adj2" fmla="val 0"/>
            </a:avLst>
          </a:prstGeom>
          <a:solidFill>
            <a:schemeClr val="bg2">
              <a:lumMod val="85000"/>
              <a:lumOff val="1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E3317B8A-5994-4331-9F6C-C7E45D2E2715}"/>
              </a:ext>
            </a:extLst>
          </p:cNvPr>
          <p:cNvSpPr/>
          <p:nvPr userDrawn="1"/>
        </p:nvSpPr>
        <p:spPr>
          <a:xfrm>
            <a:off x="8199898" y="1341439"/>
            <a:ext cx="3584196" cy="4967286"/>
          </a:xfrm>
          <a:prstGeom prst="round2SameRect">
            <a:avLst>
              <a:gd name="adj1" fmla="val 13575"/>
              <a:gd name="adj2" fmla="val 0"/>
            </a:avLst>
          </a:prstGeom>
          <a:solidFill>
            <a:schemeClr val="bg2">
              <a:lumMod val="85000"/>
              <a:lumOff val="1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6B37FAB-E365-471F-8B83-6DDC170BBA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694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6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BDD88A8-48C6-4A3C-84A3-92558961211D}"/>
              </a:ext>
            </a:extLst>
          </p:cNvPr>
          <p:cNvGrpSpPr/>
          <p:nvPr userDrawn="1"/>
        </p:nvGrpSpPr>
        <p:grpSpPr>
          <a:xfrm>
            <a:off x="433806" y="1341432"/>
            <a:ext cx="11350207" cy="5003806"/>
            <a:chOff x="433806" y="1341432"/>
            <a:chExt cx="11350207" cy="4967293"/>
          </a:xfrm>
        </p:grpSpPr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45A79BDF-D266-4451-9E85-E169772993F7}"/>
                </a:ext>
              </a:extLst>
            </p:cNvPr>
            <p:cNvSpPr/>
            <p:nvPr userDrawn="1"/>
          </p:nvSpPr>
          <p:spPr>
            <a:xfrm>
              <a:off x="433806" y="1341432"/>
              <a:ext cx="3584196" cy="2376546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0" name="Rectangle: Top Corners Rounded 19">
              <a:extLst>
                <a:ext uri="{FF2B5EF4-FFF2-40B4-BE49-F238E27FC236}">
                  <a16:creationId xmlns:a16="http://schemas.microsoft.com/office/drawing/2014/main" id="{F7B13583-F936-497D-9470-0AE0069AFCE0}"/>
                </a:ext>
              </a:extLst>
            </p:cNvPr>
            <p:cNvSpPr/>
            <p:nvPr userDrawn="1"/>
          </p:nvSpPr>
          <p:spPr>
            <a:xfrm>
              <a:off x="4329803" y="1341432"/>
              <a:ext cx="3584196" cy="2376546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1" name="Rectangle: Top Corners Rounded 20">
              <a:extLst>
                <a:ext uri="{FF2B5EF4-FFF2-40B4-BE49-F238E27FC236}">
                  <a16:creationId xmlns:a16="http://schemas.microsoft.com/office/drawing/2014/main" id="{E3317B8A-5994-4331-9F6C-C7E45D2E2715}"/>
                </a:ext>
              </a:extLst>
            </p:cNvPr>
            <p:cNvSpPr/>
            <p:nvPr userDrawn="1"/>
          </p:nvSpPr>
          <p:spPr>
            <a:xfrm>
              <a:off x="8199817" y="1341439"/>
              <a:ext cx="3584196" cy="2376546"/>
            </a:xfrm>
            <a:prstGeom prst="round2SameRect">
              <a:avLst>
                <a:gd name="adj1" fmla="val 13195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8" name="Rectangle: Top Corners Rounded 17">
              <a:extLst>
                <a:ext uri="{FF2B5EF4-FFF2-40B4-BE49-F238E27FC236}">
                  <a16:creationId xmlns:a16="http://schemas.microsoft.com/office/drawing/2014/main" id="{20FC4CD4-D849-4660-B89C-0D28BA3ECB53}"/>
                </a:ext>
              </a:extLst>
            </p:cNvPr>
            <p:cNvSpPr/>
            <p:nvPr userDrawn="1"/>
          </p:nvSpPr>
          <p:spPr>
            <a:xfrm>
              <a:off x="433806" y="3932179"/>
              <a:ext cx="3584196" cy="2376546"/>
            </a:xfrm>
            <a:prstGeom prst="round2SameRect">
              <a:avLst>
                <a:gd name="adj1" fmla="val 11266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2" name="Rectangle: Top Corners Rounded 21">
              <a:extLst>
                <a:ext uri="{FF2B5EF4-FFF2-40B4-BE49-F238E27FC236}">
                  <a16:creationId xmlns:a16="http://schemas.microsoft.com/office/drawing/2014/main" id="{A54C3606-7945-401B-A1F2-06BB822654EC}"/>
                </a:ext>
              </a:extLst>
            </p:cNvPr>
            <p:cNvSpPr/>
            <p:nvPr userDrawn="1"/>
          </p:nvSpPr>
          <p:spPr>
            <a:xfrm>
              <a:off x="4316811" y="3932179"/>
              <a:ext cx="3584196" cy="2376546"/>
            </a:xfrm>
            <a:prstGeom prst="round2SameRect">
              <a:avLst>
                <a:gd name="adj1" fmla="val 14352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3" name="Rectangle: Top Corners Rounded 22">
              <a:extLst>
                <a:ext uri="{FF2B5EF4-FFF2-40B4-BE49-F238E27FC236}">
                  <a16:creationId xmlns:a16="http://schemas.microsoft.com/office/drawing/2014/main" id="{7F085792-41BA-420D-9A96-A5FE279199B9}"/>
                </a:ext>
              </a:extLst>
            </p:cNvPr>
            <p:cNvSpPr/>
            <p:nvPr userDrawn="1"/>
          </p:nvSpPr>
          <p:spPr>
            <a:xfrm>
              <a:off x="8199817" y="3932179"/>
              <a:ext cx="3584196" cy="2376546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33430CA-5BEC-40A0-8387-BAEB4D5A189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71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9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A3ACC4-9FBD-4B1B-8749-0BEF3055887A}"/>
              </a:ext>
            </a:extLst>
          </p:cNvPr>
          <p:cNvGrpSpPr/>
          <p:nvPr userDrawn="1"/>
        </p:nvGrpSpPr>
        <p:grpSpPr>
          <a:xfrm>
            <a:off x="407988" y="1341432"/>
            <a:ext cx="11350208" cy="1603082"/>
            <a:chOff x="433806" y="1341432"/>
            <a:chExt cx="11136046" cy="1603082"/>
          </a:xfrm>
        </p:grpSpPr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45A79BDF-D266-4451-9E85-E169772993F7}"/>
                </a:ext>
              </a:extLst>
            </p:cNvPr>
            <p:cNvSpPr/>
            <p:nvPr userDrawn="1"/>
          </p:nvSpPr>
          <p:spPr>
            <a:xfrm>
              <a:off x="433806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0" name="Rectangle: Top Corners Rounded 19">
              <a:extLst>
                <a:ext uri="{FF2B5EF4-FFF2-40B4-BE49-F238E27FC236}">
                  <a16:creationId xmlns:a16="http://schemas.microsoft.com/office/drawing/2014/main" id="{F7B13583-F936-497D-9470-0AE0069AFCE0}"/>
                </a:ext>
              </a:extLst>
            </p:cNvPr>
            <p:cNvSpPr/>
            <p:nvPr userDrawn="1"/>
          </p:nvSpPr>
          <p:spPr>
            <a:xfrm>
              <a:off x="4209731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1" name="Rectangle: Top Corners Rounded 20">
              <a:extLst>
                <a:ext uri="{FF2B5EF4-FFF2-40B4-BE49-F238E27FC236}">
                  <a16:creationId xmlns:a16="http://schemas.microsoft.com/office/drawing/2014/main" id="{E3317B8A-5994-4331-9F6C-C7E45D2E2715}"/>
                </a:ext>
              </a:extLst>
            </p:cNvPr>
            <p:cNvSpPr/>
            <p:nvPr userDrawn="1"/>
          </p:nvSpPr>
          <p:spPr>
            <a:xfrm>
              <a:off x="7985656" y="1341437"/>
              <a:ext cx="3584196" cy="1603077"/>
            </a:xfrm>
            <a:prstGeom prst="round2SameRect">
              <a:avLst>
                <a:gd name="adj1" fmla="val 13195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33430CA-5BEC-40A0-8387-BAEB4D5A189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9D4459C-F4E2-4486-899D-AE8E631A5A9E}"/>
              </a:ext>
            </a:extLst>
          </p:cNvPr>
          <p:cNvGrpSpPr/>
          <p:nvPr userDrawn="1"/>
        </p:nvGrpSpPr>
        <p:grpSpPr>
          <a:xfrm>
            <a:off x="407988" y="3111946"/>
            <a:ext cx="11350208" cy="1603082"/>
            <a:chOff x="433806" y="1341432"/>
            <a:chExt cx="11136046" cy="1603082"/>
          </a:xfrm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C70DE345-75E8-4568-8D5B-96DCD7BE0760}"/>
                </a:ext>
              </a:extLst>
            </p:cNvPr>
            <p:cNvSpPr/>
            <p:nvPr userDrawn="1"/>
          </p:nvSpPr>
          <p:spPr>
            <a:xfrm>
              <a:off x="433806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5" name="Rectangle: Top Corners Rounded 24">
              <a:extLst>
                <a:ext uri="{FF2B5EF4-FFF2-40B4-BE49-F238E27FC236}">
                  <a16:creationId xmlns:a16="http://schemas.microsoft.com/office/drawing/2014/main" id="{988A084E-E7F8-4EE4-85E8-EDF656EE34FE}"/>
                </a:ext>
              </a:extLst>
            </p:cNvPr>
            <p:cNvSpPr/>
            <p:nvPr userDrawn="1"/>
          </p:nvSpPr>
          <p:spPr>
            <a:xfrm>
              <a:off x="4209731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6" name="Rectangle: Top Corners Rounded 25">
              <a:extLst>
                <a:ext uri="{FF2B5EF4-FFF2-40B4-BE49-F238E27FC236}">
                  <a16:creationId xmlns:a16="http://schemas.microsoft.com/office/drawing/2014/main" id="{B08003B3-EA94-4F64-B135-1748D810D126}"/>
                </a:ext>
              </a:extLst>
            </p:cNvPr>
            <p:cNvSpPr/>
            <p:nvPr userDrawn="1"/>
          </p:nvSpPr>
          <p:spPr>
            <a:xfrm>
              <a:off x="7985656" y="1341437"/>
              <a:ext cx="3584196" cy="1603077"/>
            </a:xfrm>
            <a:prstGeom prst="round2SameRect">
              <a:avLst>
                <a:gd name="adj1" fmla="val 13195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CA81357-FE48-4333-93BF-E1ECB793E0AE}"/>
              </a:ext>
            </a:extLst>
          </p:cNvPr>
          <p:cNvGrpSpPr/>
          <p:nvPr userDrawn="1"/>
        </p:nvGrpSpPr>
        <p:grpSpPr>
          <a:xfrm>
            <a:off x="407988" y="4882460"/>
            <a:ext cx="11350208" cy="1603082"/>
            <a:chOff x="433806" y="1341432"/>
            <a:chExt cx="11136046" cy="1603082"/>
          </a:xfrm>
        </p:grpSpPr>
        <p:sp>
          <p:nvSpPr>
            <p:cNvPr id="28" name="Rectangle: Top Corners Rounded 27">
              <a:extLst>
                <a:ext uri="{FF2B5EF4-FFF2-40B4-BE49-F238E27FC236}">
                  <a16:creationId xmlns:a16="http://schemas.microsoft.com/office/drawing/2014/main" id="{BF8EB0FA-909F-4EEE-B494-DAA58223D58C}"/>
                </a:ext>
              </a:extLst>
            </p:cNvPr>
            <p:cNvSpPr/>
            <p:nvPr userDrawn="1"/>
          </p:nvSpPr>
          <p:spPr>
            <a:xfrm>
              <a:off x="433806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9" name="Rectangle: Top Corners Rounded 28">
              <a:extLst>
                <a:ext uri="{FF2B5EF4-FFF2-40B4-BE49-F238E27FC236}">
                  <a16:creationId xmlns:a16="http://schemas.microsoft.com/office/drawing/2014/main" id="{541752F3-4BB8-4CA3-97E8-3ADAE036E1EA}"/>
                </a:ext>
              </a:extLst>
            </p:cNvPr>
            <p:cNvSpPr/>
            <p:nvPr userDrawn="1"/>
          </p:nvSpPr>
          <p:spPr>
            <a:xfrm>
              <a:off x="4209731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30" name="Rectangle: Top Corners Rounded 29">
              <a:extLst>
                <a:ext uri="{FF2B5EF4-FFF2-40B4-BE49-F238E27FC236}">
                  <a16:creationId xmlns:a16="http://schemas.microsoft.com/office/drawing/2014/main" id="{07A759EA-FC0B-4F28-88A6-BD071356543B}"/>
                </a:ext>
              </a:extLst>
            </p:cNvPr>
            <p:cNvSpPr/>
            <p:nvPr userDrawn="1"/>
          </p:nvSpPr>
          <p:spPr>
            <a:xfrm>
              <a:off x="7985656" y="1341437"/>
              <a:ext cx="3584196" cy="1603077"/>
            </a:xfrm>
            <a:prstGeom prst="round2SameRect">
              <a:avLst>
                <a:gd name="adj1" fmla="val 13195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4154367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+ 8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A3ACC4-9FBD-4B1B-8749-0BEF3055887A}"/>
              </a:ext>
            </a:extLst>
          </p:cNvPr>
          <p:cNvGrpSpPr/>
          <p:nvPr userDrawn="1"/>
        </p:nvGrpSpPr>
        <p:grpSpPr>
          <a:xfrm>
            <a:off x="407988" y="1341432"/>
            <a:ext cx="11350208" cy="1603082"/>
            <a:chOff x="433806" y="1341432"/>
            <a:chExt cx="11136046" cy="1603082"/>
          </a:xfrm>
        </p:grpSpPr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45A79BDF-D266-4451-9E85-E169772993F7}"/>
                </a:ext>
              </a:extLst>
            </p:cNvPr>
            <p:cNvSpPr/>
            <p:nvPr userDrawn="1"/>
          </p:nvSpPr>
          <p:spPr>
            <a:xfrm>
              <a:off x="433806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0" name="Rectangle: Top Corners Rounded 19">
              <a:extLst>
                <a:ext uri="{FF2B5EF4-FFF2-40B4-BE49-F238E27FC236}">
                  <a16:creationId xmlns:a16="http://schemas.microsoft.com/office/drawing/2014/main" id="{F7B13583-F936-497D-9470-0AE0069AFCE0}"/>
                </a:ext>
              </a:extLst>
            </p:cNvPr>
            <p:cNvSpPr/>
            <p:nvPr userDrawn="1"/>
          </p:nvSpPr>
          <p:spPr>
            <a:xfrm>
              <a:off x="4209731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1" name="Rectangle: Top Corners Rounded 20">
              <a:extLst>
                <a:ext uri="{FF2B5EF4-FFF2-40B4-BE49-F238E27FC236}">
                  <a16:creationId xmlns:a16="http://schemas.microsoft.com/office/drawing/2014/main" id="{E3317B8A-5994-4331-9F6C-C7E45D2E2715}"/>
                </a:ext>
              </a:extLst>
            </p:cNvPr>
            <p:cNvSpPr/>
            <p:nvPr userDrawn="1"/>
          </p:nvSpPr>
          <p:spPr>
            <a:xfrm>
              <a:off x="7985656" y="1341437"/>
              <a:ext cx="3584196" cy="1603077"/>
            </a:xfrm>
            <a:prstGeom prst="round2SameRect">
              <a:avLst>
                <a:gd name="adj1" fmla="val 13195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33430CA-5BEC-40A0-8387-BAEB4D5A189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9D4459C-F4E2-4486-899D-AE8E631A5A9E}"/>
              </a:ext>
            </a:extLst>
          </p:cNvPr>
          <p:cNvGrpSpPr/>
          <p:nvPr userDrawn="1"/>
        </p:nvGrpSpPr>
        <p:grpSpPr>
          <a:xfrm>
            <a:off x="407988" y="3111946"/>
            <a:ext cx="11350208" cy="3373591"/>
            <a:chOff x="433806" y="1341432"/>
            <a:chExt cx="11136046" cy="3373591"/>
          </a:xfrm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C70DE345-75E8-4568-8D5B-96DCD7BE0760}"/>
                </a:ext>
              </a:extLst>
            </p:cNvPr>
            <p:cNvSpPr/>
            <p:nvPr userDrawn="1"/>
          </p:nvSpPr>
          <p:spPr>
            <a:xfrm>
              <a:off x="433806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5" name="Rectangle: Top Corners Rounded 24">
              <a:extLst>
                <a:ext uri="{FF2B5EF4-FFF2-40B4-BE49-F238E27FC236}">
                  <a16:creationId xmlns:a16="http://schemas.microsoft.com/office/drawing/2014/main" id="{988A084E-E7F8-4EE4-85E8-EDF656EE34FE}"/>
                </a:ext>
              </a:extLst>
            </p:cNvPr>
            <p:cNvSpPr/>
            <p:nvPr userDrawn="1"/>
          </p:nvSpPr>
          <p:spPr>
            <a:xfrm>
              <a:off x="4209731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6" name="Rectangle: Top Corners Rounded 25">
              <a:extLst>
                <a:ext uri="{FF2B5EF4-FFF2-40B4-BE49-F238E27FC236}">
                  <a16:creationId xmlns:a16="http://schemas.microsoft.com/office/drawing/2014/main" id="{B08003B3-EA94-4F64-B135-1748D810D126}"/>
                </a:ext>
              </a:extLst>
            </p:cNvPr>
            <p:cNvSpPr/>
            <p:nvPr userDrawn="1"/>
          </p:nvSpPr>
          <p:spPr>
            <a:xfrm>
              <a:off x="7985656" y="1341437"/>
              <a:ext cx="3584196" cy="3373586"/>
            </a:xfrm>
            <a:prstGeom prst="round2SameRect">
              <a:avLst>
                <a:gd name="adj1" fmla="val 8267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CA81357-FE48-4333-93BF-E1ECB793E0AE}"/>
              </a:ext>
            </a:extLst>
          </p:cNvPr>
          <p:cNvGrpSpPr/>
          <p:nvPr userDrawn="1"/>
        </p:nvGrpSpPr>
        <p:grpSpPr>
          <a:xfrm>
            <a:off x="407988" y="4882460"/>
            <a:ext cx="7501667" cy="1603077"/>
            <a:chOff x="433806" y="1341432"/>
            <a:chExt cx="7360121" cy="1603077"/>
          </a:xfrm>
        </p:grpSpPr>
        <p:sp>
          <p:nvSpPr>
            <p:cNvPr id="28" name="Rectangle: Top Corners Rounded 27">
              <a:extLst>
                <a:ext uri="{FF2B5EF4-FFF2-40B4-BE49-F238E27FC236}">
                  <a16:creationId xmlns:a16="http://schemas.microsoft.com/office/drawing/2014/main" id="{BF8EB0FA-909F-4EEE-B494-DAA58223D58C}"/>
                </a:ext>
              </a:extLst>
            </p:cNvPr>
            <p:cNvSpPr/>
            <p:nvPr userDrawn="1"/>
          </p:nvSpPr>
          <p:spPr>
            <a:xfrm>
              <a:off x="433806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9" name="Rectangle: Top Corners Rounded 28">
              <a:extLst>
                <a:ext uri="{FF2B5EF4-FFF2-40B4-BE49-F238E27FC236}">
                  <a16:creationId xmlns:a16="http://schemas.microsoft.com/office/drawing/2014/main" id="{541752F3-4BB8-4CA3-97E8-3ADAE036E1EA}"/>
                </a:ext>
              </a:extLst>
            </p:cNvPr>
            <p:cNvSpPr/>
            <p:nvPr userDrawn="1"/>
          </p:nvSpPr>
          <p:spPr>
            <a:xfrm>
              <a:off x="4209731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295752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33430CA-5BEC-40A0-8387-BAEB4D5A189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7CB3775-A262-4A9D-8F01-D3C3F1AFF37A}"/>
              </a:ext>
            </a:extLst>
          </p:cNvPr>
          <p:cNvGrpSpPr/>
          <p:nvPr userDrawn="1"/>
        </p:nvGrpSpPr>
        <p:grpSpPr>
          <a:xfrm>
            <a:off x="407988" y="1341433"/>
            <a:ext cx="11376026" cy="3973517"/>
            <a:chOff x="407988" y="1341433"/>
            <a:chExt cx="11376026" cy="4597550"/>
          </a:xfrm>
        </p:grpSpPr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45A79BDF-D266-4451-9E85-E169772993F7}"/>
                </a:ext>
              </a:extLst>
            </p:cNvPr>
            <p:cNvSpPr/>
            <p:nvPr userDrawn="1"/>
          </p:nvSpPr>
          <p:spPr>
            <a:xfrm>
              <a:off x="407988" y="1341433"/>
              <a:ext cx="3653125" cy="1432753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0" name="Rectangle: Top Corners Rounded 19">
              <a:extLst>
                <a:ext uri="{FF2B5EF4-FFF2-40B4-BE49-F238E27FC236}">
                  <a16:creationId xmlns:a16="http://schemas.microsoft.com/office/drawing/2014/main" id="{F7B13583-F936-497D-9470-0AE0069AFCE0}"/>
                </a:ext>
              </a:extLst>
            </p:cNvPr>
            <p:cNvSpPr/>
            <p:nvPr userDrawn="1"/>
          </p:nvSpPr>
          <p:spPr>
            <a:xfrm>
              <a:off x="4269439" y="1341433"/>
              <a:ext cx="3653125" cy="1432753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1" name="Rectangle: Top Corners Rounded 20">
              <a:extLst>
                <a:ext uri="{FF2B5EF4-FFF2-40B4-BE49-F238E27FC236}">
                  <a16:creationId xmlns:a16="http://schemas.microsoft.com/office/drawing/2014/main" id="{E3317B8A-5994-4331-9F6C-C7E45D2E2715}"/>
                </a:ext>
              </a:extLst>
            </p:cNvPr>
            <p:cNvSpPr/>
            <p:nvPr userDrawn="1"/>
          </p:nvSpPr>
          <p:spPr>
            <a:xfrm>
              <a:off x="8130889" y="1341433"/>
              <a:ext cx="3653125" cy="1432753"/>
            </a:xfrm>
            <a:prstGeom prst="round2SameRect">
              <a:avLst>
                <a:gd name="adj1" fmla="val 13195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C70DE345-75E8-4568-8D5B-96DCD7BE0760}"/>
                </a:ext>
              </a:extLst>
            </p:cNvPr>
            <p:cNvSpPr/>
            <p:nvPr userDrawn="1"/>
          </p:nvSpPr>
          <p:spPr>
            <a:xfrm>
              <a:off x="407988" y="2923832"/>
              <a:ext cx="3653125" cy="1432752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5" name="Rectangle: Top Corners Rounded 24">
              <a:extLst>
                <a:ext uri="{FF2B5EF4-FFF2-40B4-BE49-F238E27FC236}">
                  <a16:creationId xmlns:a16="http://schemas.microsoft.com/office/drawing/2014/main" id="{988A084E-E7F8-4EE4-85E8-EDF656EE34FE}"/>
                </a:ext>
              </a:extLst>
            </p:cNvPr>
            <p:cNvSpPr/>
            <p:nvPr userDrawn="1"/>
          </p:nvSpPr>
          <p:spPr>
            <a:xfrm>
              <a:off x="4269438" y="2923832"/>
              <a:ext cx="3653125" cy="1432752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8" name="Rectangle: Top Corners Rounded 27">
              <a:extLst>
                <a:ext uri="{FF2B5EF4-FFF2-40B4-BE49-F238E27FC236}">
                  <a16:creationId xmlns:a16="http://schemas.microsoft.com/office/drawing/2014/main" id="{BF8EB0FA-909F-4EEE-B494-DAA58223D58C}"/>
                </a:ext>
              </a:extLst>
            </p:cNvPr>
            <p:cNvSpPr/>
            <p:nvPr userDrawn="1"/>
          </p:nvSpPr>
          <p:spPr>
            <a:xfrm>
              <a:off x="407988" y="4506231"/>
              <a:ext cx="3653125" cy="1432752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9" name="Rectangle: Top Corners Rounded 28">
              <a:extLst>
                <a:ext uri="{FF2B5EF4-FFF2-40B4-BE49-F238E27FC236}">
                  <a16:creationId xmlns:a16="http://schemas.microsoft.com/office/drawing/2014/main" id="{541752F3-4BB8-4CA3-97E8-3ADAE036E1EA}"/>
                </a:ext>
              </a:extLst>
            </p:cNvPr>
            <p:cNvSpPr/>
            <p:nvPr userDrawn="1"/>
          </p:nvSpPr>
          <p:spPr>
            <a:xfrm>
              <a:off x="4269439" y="4506231"/>
              <a:ext cx="3653125" cy="1432752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3" name="Rectangle: Top Corners Rounded 22">
              <a:extLst>
                <a:ext uri="{FF2B5EF4-FFF2-40B4-BE49-F238E27FC236}">
                  <a16:creationId xmlns:a16="http://schemas.microsoft.com/office/drawing/2014/main" id="{AA6ECAA6-AD3F-4EA4-8683-3DAB26585AEA}"/>
                </a:ext>
              </a:extLst>
            </p:cNvPr>
            <p:cNvSpPr/>
            <p:nvPr userDrawn="1"/>
          </p:nvSpPr>
          <p:spPr>
            <a:xfrm>
              <a:off x="8130889" y="2923832"/>
              <a:ext cx="3653125" cy="1432752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30" name="Rectangle: Top Corners Rounded 29">
              <a:extLst>
                <a:ext uri="{FF2B5EF4-FFF2-40B4-BE49-F238E27FC236}">
                  <a16:creationId xmlns:a16="http://schemas.microsoft.com/office/drawing/2014/main" id="{528BA697-E5E5-4A9F-9D49-196360C42285}"/>
                </a:ext>
              </a:extLst>
            </p:cNvPr>
            <p:cNvSpPr/>
            <p:nvPr userDrawn="1"/>
          </p:nvSpPr>
          <p:spPr>
            <a:xfrm>
              <a:off x="8130889" y="4506231"/>
              <a:ext cx="3653125" cy="1432752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39899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33430CA-5BEC-40A0-8387-BAEB4D5A189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7CB3775-A262-4A9D-8F01-D3C3F1AFF37A}"/>
              </a:ext>
            </a:extLst>
          </p:cNvPr>
          <p:cNvGrpSpPr/>
          <p:nvPr userDrawn="1"/>
        </p:nvGrpSpPr>
        <p:grpSpPr>
          <a:xfrm>
            <a:off x="407988" y="1341433"/>
            <a:ext cx="11376026" cy="4295796"/>
            <a:chOff x="407988" y="1341433"/>
            <a:chExt cx="11376026" cy="4597550"/>
          </a:xfrm>
        </p:grpSpPr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45A79BDF-D266-4451-9E85-E169772993F7}"/>
                </a:ext>
              </a:extLst>
            </p:cNvPr>
            <p:cNvSpPr/>
            <p:nvPr userDrawn="1"/>
          </p:nvSpPr>
          <p:spPr>
            <a:xfrm>
              <a:off x="407988" y="1341433"/>
              <a:ext cx="3653125" cy="1432753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0" name="Rectangle: Top Corners Rounded 19">
              <a:extLst>
                <a:ext uri="{FF2B5EF4-FFF2-40B4-BE49-F238E27FC236}">
                  <a16:creationId xmlns:a16="http://schemas.microsoft.com/office/drawing/2014/main" id="{F7B13583-F936-497D-9470-0AE0069AFCE0}"/>
                </a:ext>
              </a:extLst>
            </p:cNvPr>
            <p:cNvSpPr/>
            <p:nvPr userDrawn="1"/>
          </p:nvSpPr>
          <p:spPr>
            <a:xfrm>
              <a:off x="4269439" y="1341433"/>
              <a:ext cx="3653125" cy="1432753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1" name="Rectangle: Top Corners Rounded 20">
              <a:extLst>
                <a:ext uri="{FF2B5EF4-FFF2-40B4-BE49-F238E27FC236}">
                  <a16:creationId xmlns:a16="http://schemas.microsoft.com/office/drawing/2014/main" id="{E3317B8A-5994-4331-9F6C-C7E45D2E2715}"/>
                </a:ext>
              </a:extLst>
            </p:cNvPr>
            <p:cNvSpPr/>
            <p:nvPr userDrawn="1"/>
          </p:nvSpPr>
          <p:spPr>
            <a:xfrm>
              <a:off x="8130889" y="1341433"/>
              <a:ext cx="3653125" cy="1432753"/>
            </a:xfrm>
            <a:prstGeom prst="round2SameRect">
              <a:avLst>
                <a:gd name="adj1" fmla="val 13195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C70DE345-75E8-4568-8D5B-96DCD7BE0760}"/>
                </a:ext>
              </a:extLst>
            </p:cNvPr>
            <p:cNvSpPr/>
            <p:nvPr userDrawn="1"/>
          </p:nvSpPr>
          <p:spPr>
            <a:xfrm>
              <a:off x="407988" y="2923832"/>
              <a:ext cx="3653125" cy="1432752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5" name="Rectangle: Top Corners Rounded 24">
              <a:extLst>
                <a:ext uri="{FF2B5EF4-FFF2-40B4-BE49-F238E27FC236}">
                  <a16:creationId xmlns:a16="http://schemas.microsoft.com/office/drawing/2014/main" id="{988A084E-E7F8-4EE4-85E8-EDF656EE34FE}"/>
                </a:ext>
              </a:extLst>
            </p:cNvPr>
            <p:cNvSpPr/>
            <p:nvPr userDrawn="1"/>
          </p:nvSpPr>
          <p:spPr>
            <a:xfrm>
              <a:off x="4269438" y="2923832"/>
              <a:ext cx="3653125" cy="1432752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8" name="Rectangle: Top Corners Rounded 27">
              <a:extLst>
                <a:ext uri="{FF2B5EF4-FFF2-40B4-BE49-F238E27FC236}">
                  <a16:creationId xmlns:a16="http://schemas.microsoft.com/office/drawing/2014/main" id="{BF8EB0FA-909F-4EEE-B494-DAA58223D58C}"/>
                </a:ext>
              </a:extLst>
            </p:cNvPr>
            <p:cNvSpPr/>
            <p:nvPr userDrawn="1"/>
          </p:nvSpPr>
          <p:spPr>
            <a:xfrm>
              <a:off x="407988" y="4506231"/>
              <a:ext cx="3653125" cy="1432752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9" name="Rectangle: Top Corners Rounded 28">
              <a:extLst>
                <a:ext uri="{FF2B5EF4-FFF2-40B4-BE49-F238E27FC236}">
                  <a16:creationId xmlns:a16="http://schemas.microsoft.com/office/drawing/2014/main" id="{541752F3-4BB8-4CA3-97E8-3ADAE036E1EA}"/>
                </a:ext>
              </a:extLst>
            </p:cNvPr>
            <p:cNvSpPr/>
            <p:nvPr userDrawn="1"/>
          </p:nvSpPr>
          <p:spPr>
            <a:xfrm>
              <a:off x="4269439" y="4506231"/>
              <a:ext cx="3653125" cy="1432752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287766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+ 6 white left a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F33430CA-5BEC-40A0-8387-BAEB4D5A189D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D75C423-FA0B-4D99-AAFB-261A1E9E4B61}"/>
              </a:ext>
            </a:extLst>
          </p:cNvPr>
          <p:cNvGrpSpPr/>
          <p:nvPr userDrawn="1"/>
        </p:nvGrpSpPr>
        <p:grpSpPr>
          <a:xfrm>
            <a:off x="407988" y="2312748"/>
            <a:ext cx="11350208" cy="1351198"/>
            <a:chOff x="433806" y="1341432"/>
            <a:chExt cx="11136046" cy="1603082"/>
          </a:xfrm>
        </p:grpSpPr>
        <p:sp>
          <p:nvSpPr>
            <p:cNvPr id="23" name="Rectangle: Top Corners Rounded 22">
              <a:extLst>
                <a:ext uri="{FF2B5EF4-FFF2-40B4-BE49-F238E27FC236}">
                  <a16:creationId xmlns:a16="http://schemas.microsoft.com/office/drawing/2014/main" id="{8098D1B1-7484-452F-BEAB-76A3D9BAD8D9}"/>
                </a:ext>
              </a:extLst>
            </p:cNvPr>
            <p:cNvSpPr/>
            <p:nvPr userDrawn="1"/>
          </p:nvSpPr>
          <p:spPr>
            <a:xfrm>
              <a:off x="433806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9" name="Rectangle: Top Corners Rounded 28">
              <a:extLst>
                <a:ext uri="{FF2B5EF4-FFF2-40B4-BE49-F238E27FC236}">
                  <a16:creationId xmlns:a16="http://schemas.microsoft.com/office/drawing/2014/main" id="{2ADFDC27-D1D0-45DE-9477-5009763BF609}"/>
                </a:ext>
              </a:extLst>
            </p:cNvPr>
            <p:cNvSpPr/>
            <p:nvPr userDrawn="1"/>
          </p:nvSpPr>
          <p:spPr>
            <a:xfrm>
              <a:off x="7985656" y="1341437"/>
              <a:ext cx="3584196" cy="1603077"/>
            </a:xfrm>
            <a:prstGeom prst="round2SameRect">
              <a:avLst>
                <a:gd name="adj1" fmla="val 13195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173E171-9BE1-4140-9FED-9D5D9134DDF7}"/>
              </a:ext>
            </a:extLst>
          </p:cNvPr>
          <p:cNvGrpSpPr/>
          <p:nvPr userDrawn="1"/>
        </p:nvGrpSpPr>
        <p:grpSpPr>
          <a:xfrm>
            <a:off x="407988" y="4157011"/>
            <a:ext cx="11350209" cy="1351197"/>
            <a:chOff x="433806" y="1341432"/>
            <a:chExt cx="11136047" cy="1603081"/>
          </a:xfrm>
        </p:grpSpPr>
        <p:sp>
          <p:nvSpPr>
            <p:cNvPr id="32" name="Rectangle: Top Corners Rounded 31">
              <a:extLst>
                <a:ext uri="{FF2B5EF4-FFF2-40B4-BE49-F238E27FC236}">
                  <a16:creationId xmlns:a16="http://schemas.microsoft.com/office/drawing/2014/main" id="{04168282-CBA5-46C0-8572-DA4CCB950176}"/>
                </a:ext>
              </a:extLst>
            </p:cNvPr>
            <p:cNvSpPr/>
            <p:nvPr userDrawn="1"/>
          </p:nvSpPr>
          <p:spPr>
            <a:xfrm>
              <a:off x="433806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33" name="Rectangle: Top Corners Rounded 32">
              <a:extLst>
                <a:ext uri="{FF2B5EF4-FFF2-40B4-BE49-F238E27FC236}">
                  <a16:creationId xmlns:a16="http://schemas.microsoft.com/office/drawing/2014/main" id="{1B4C0F33-1683-42D5-956A-D7B67B5429CE}"/>
                </a:ext>
              </a:extLst>
            </p:cNvPr>
            <p:cNvSpPr/>
            <p:nvPr userDrawn="1"/>
          </p:nvSpPr>
          <p:spPr>
            <a:xfrm>
              <a:off x="4222394" y="1341432"/>
              <a:ext cx="3584196" cy="1603077"/>
            </a:xfrm>
            <a:prstGeom prst="round2SameRect">
              <a:avLst>
                <a:gd name="adj1" fmla="val 1280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34" name="Rectangle: Top Corners Rounded 33">
              <a:extLst>
                <a:ext uri="{FF2B5EF4-FFF2-40B4-BE49-F238E27FC236}">
                  <a16:creationId xmlns:a16="http://schemas.microsoft.com/office/drawing/2014/main" id="{4800A9B6-FC23-45CE-B83F-F46569E3F998}"/>
                </a:ext>
              </a:extLst>
            </p:cNvPr>
            <p:cNvSpPr/>
            <p:nvPr userDrawn="1"/>
          </p:nvSpPr>
          <p:spPr>
            <a:xfrm>
              <a:off x="7985657" y="1341436"/>
              <a:ext cx="3584196" cy="1603077"/>
            </a:xfrm>
            <a:prstGeom prst="round2SameRect">
              <a:avLst>
                <a:gd name="adj1" fmla="val 13195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D9786396-68B0-43DE-A823-78C01D163E26}"/>
              </a:ext>
            </a:extLst>
          </p:cNvPr>
          <p:cNvSpPr/>
          <p:nvPr userDrawn="1"/>
        </p:nvSpPr>
        <p:spPr>
          <a:xfrm>
            <a:off x="4269436" y="1221722"/>
            <a:ext cx="3653125" cy="895875"/>
          </a:xfrm>
          <a:prstGeom prst="round2SameRect">
            <a:avLst>
              <a:gd name="adj1" fmla="val 12809"/>
              <a:gd name="adj2" fmla="val 0"/>
            </a:avLst>
          </a:prstGeom>
          <a:solidFill>
            <a:srgbClr val="FFCB05">
              <a:alpha val="30196"/>
            </a:srgb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8691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0E78C91-6765-4286-8B22-0A85ADF72D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994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able with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A79BDF-D266-4451-9E85-E169772993F7}"/>
              </a:ext>
            </a:extLst>
          </p:cNvPr>
          <p:cNvSpPr/>
          <p:nvPr userDrawn="1"/>
        </p:nvSpPr>
        <p:spPr>
          <a:xfrm>
            <a:off x="433638" y="1341432"/>
            <a:ext cx="5482726" cy="4967286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3317B8A-5994-4331-9F6C-C7E45D2E2715}"/>
              </a:ext>
            </a:extLst>
          </p:cNvPr>
          <p:cNvSpPr/>
          <p:nvPr userDrawn="1"/>
        </p:nvSpPr>
        <p:spPr>
          <a:xfrm>
            <a:off x="6275138" y="1341439"/>
            <a:ext cx="5508706" cy="4967286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6" name="Table Placeholder 15">
            <a:extLst>
              <a:ext uri="{FF2B5EF4-FFF2-40B4-BE49-F238E27FC236}">
                <a16:creationId xmlns:a16="http://schemas.microsoft.com/office/drawing/2014/main" id="{E68FA494-36A4-405F-A0A3-D07DEE9DD9E9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86570" y="1657350"/>
            <a:ext cx="5376862" cy="4619625"/>
          </a:xfrm>
          <a:noFill/>
        </p:spPr>
        <p:txBody>
          <a:bodyPr/>
          <a:lstStyle/>
          <a:p>
            <a:endParaRPr lang="en-ZA"/>
          </a:p>
        </p:txBody>
      </p:sp>
      <p:sp>
        <p:nvSpPr>
          <p:cNvPr id="20" name="Table Placeholder 15">
            <a:extLst>
              <a:ext uri="{FF2B5EF4-FFF2-40B4-BE49-F238E27FC236}">
                <a16:creationId xmlns:a16="http://schemas.microsoft.com/office/drawing/2014/main" id="{C8606D93-FD1E-4515-9017-0C058FAC4229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6320580" y="1657350"/>
            <a:ext cx="5417823" cy="4619625"/>
          </a:xfrm>
          <a:noFill/>
        </p:spPr>
        <p:txBody>
          <a:bodyPr/>
          <a:lstStyle/>
          <a:p>
            <a:endParaRPr lang="en-ZA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A94F0E-52B1-4A5C-8F77-3015DC2D3D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886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2 white wide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45A79BDF-D266-4451-9E85-E169772993F7}"/>
              </a:ext>
            </a:extLst>
          </p:cNvPr>
          <p:cNvSpPr/>
          <p:nvPr userDrawn="1"/>
        </p:nvSpPr>
        <p:spPr>
          <a:xfrm>
            <a:off x="433887" y="1341432"/>
            <a:ext cx="4698830" cy="4967286"/>
          </a:xfrm>
          <a:prstGeom prst="round2SameRect">
            <a:avLst>
              <a:gd name="adj1" fmla="val 9984"/>
              <a:gd name="adj2" fmla="val 0"/>
            </a:avLst>
          </a:prstGeom>
          <a:solidFill>
            <a:schemeClr val="bg2">
              <a:lumMod val="85000"/>
              <a:lumOff val="1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E3317B8A-5994-4331-9F6C-C7E45D2E2715}"/>
              </a:ext>
            </a:extLst>
          </p:cNvPr>
          <p:cNvSpPr/>
          <p:nvPr userDrawn="1"/>
        </p:nvSpPr>
        <p:spPr>
          <a:xfrm>
            <a:off x="5420711" y="1341439"/>
            <a:ext cx="6363383" cy="4967286"/>
          </a:xfrm>
          <a:prstGeom prst="round2SameRect">
            <a:avLst>
              <a:gd name="adj1" fmla="val 11647"/>
              <a:gd name="adj2" fmla="val 0"/>
            </a:avLst>
          </a:prstGeom>
          <a:solidFill>
            <a:schemeClr val="bg2">
              <a:lumMod val="85000"/>
              <a:lumOff val="1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C4E9337-321E-4E0A-8FB3-1CE0E36291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9601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AF56D0F2-4915-1040-97F6-0118CDEBA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182" y="3253912"/>
            <a:ext cx="11713637" cy="39822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ctr">
              <a:spcBef>
                <a:spcPts val="0"/>
              </a:spcBef>
              <a:defRPr sz="2800" b="1" i="0">
                <a:solidFill>
                  <a:schemeClr val="tx2"/>
                </a:solidFill>
                <a:latin typeface="MTN Brighter Sans Bold" pitchFamily="2" charset="77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2DC3C8DC-1F38-C34E-B703-B598575F8B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0" y="3816390"/>
            <a:ext cx="11713637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2"/>
                </a:solidFill>
                <a:latin typeface="MTN Brighter Sans" pitchFamily="2" charset="77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050AE4-FD82-6B45-8D3A-93732A42FF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00651" y="6471477"/>
            <a:ext cx="1790700" cy="169887"/>
          </a:xfrm>
          <a:prstGeom prst="rect">
            <a:avLst/>
          </a:prstGeom>
        </p:spPr>
      </p:pic>
      <p:pic>
        <p:nvPicPr>
          <p:cNvPr id="18" name="Picture 9">
            <a:extLst>
              <a:ext uri="{FF2B5EF4-FFF2-40B4-BE49-F238E27FC236}">
                <a16:creationId xmlns:a16="http://schemas.microsoft.com/office/drawing/2014/main" id="{3716CC9C-210A-DA40-A118-523C3505DC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219842" y="436693"/>
            <a:ext cx="1752317" cy="87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58425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4 white hori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87CB472-CE50-44C3-9610-59BF9C75263F}"/>
              </a:ext>
            </a:extLst>
          </p:cNvPr>
          <p:cNvGrpSpPr/>
          <p:nvPr userDrawn="1"/>
        </p:nvGrpSpPr>
        <p:grpSpPr>
          <a:xfrm>
            <a:off x="433888" y="1341432"/>
            <a:ext cx="11350126" cy="4967293"/>
            <a:chOff x="433887" y="1341432"/>
            <a:chExt cx="14866359" cy="4967293"/>
          </a:xfrm>
        </p:grpSpPr>
        <p:sp>
          <p:nvSpPr>
            <p:cNvPr id="19" name="Rectangle: Top Corners Rounded 18">
              <a:extLst>
                <a:ext uri="{FF2B5EF4-FFF2-40B4-BE49-F238E27FC236}">
                  <a16:creationId xmlns:a16="http://schemas.microsoft.com/office/drawing/2014/main" id="{45A79BDF-D266-4451-9E85-E169772993F7}"/>
                </a:ext>
              </a:extLst>
            </p:cNvPr>
            <p:cNvSpPr/>
            <p:nvPr userDrawn="1"/>
          </p:nvSpPr>
          <p:spPr>
            <a:xfrm>
              <a:off x="433887" y="1341432"/>
              <a:ext cx="3584196" cy="4967286"/>
            </a:xfrm>
            <a:prstGeom prst="round2SameRect">
              <a:avLst>
                <a:gd name="adj1" fmla="val 11604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0" name="Rectangle: Top Corners Rounded 19">
              <a:extLst>
                <a:ext uri="{FF2B5EF4-FFF2-40B4-BE49-F238E27FC236}">
                  <a16:creationId xmlns:a16="http://schemas.microsoft.com/office/drawing/2014/main" id="{F7B13583-F936-497D-9470-0AE0069AFCE0}"/>
                </a:ext>
              </a:extLst>
            </p:cNvPr>
            <p:cNvSpPr/>
            <p:nvPr userDrawn="1"/>
          </p:nvSpPr>
          <p:spPr>
            <a:xfrm>
              <a:off x="4194608" y="1341432"/>
              <a:ext cx="3584196" cy="4967286"/>
            </a:xfrm>
            <a:prstGeom prst="round2SameRect">
              <a:avLst>
                <a:gd name="adj1" fmla="val 12279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21" name="Rectangle: Top Corners Rounded 20">
              <a:extLst>
                <a:ext uri="{FF2B5EF4-FFF2-40B4-BE49-F238E27FC236}">
                  <a16:creationId xmlns:a16="http://schemas.microsoft.com/office/drawing/2014/main" id="{E3317B8A-5994-4331-9F6C-C7E45D2E2715}"/>
                </a:ext>
              </a:extLst>
            </p:cNvPr>
            <p:cNvSpPr/>
            <p:nvPr userDrawn="1"/>
          </p:nvSpPr>
          <p:spPr>
            <a:xfrm>
              <a:off x="7955329" y="1341439"/>
              <a:ext cx="3584196" cy="4967286"/>
            </a:xfrm>
            <a:prstGeom prst="round2SameRect">
              <a:avLst>
                <a:gd name="adj1" fmla="val 13292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8" name="Rectangle: Top Corners Rounded 17">
              <a:extLst>
                <a:ext uri="{FF2B5EF4-FFF2-40B4-BE49-F238E27FC236}">
                  <a16:creationId xmlns:a16="http://schemas.microsoft.com/office/drawing/2014/main" id="{AE8055CB-AA12-46CF-8988-18E40091F110}"/>
                </a:ext>
              </a:extLst>
            </p:cNvPr>
            <p:cNvSpPr/>
            <p:nvPr userDrawn="1"/>
          </p:nvSpPr>
          <p:spPr>
            <a:xfrm>
              <a:off x="11716050" y="1341432"/>
              <a:ext cx="3584196" cy="4967286"/>
            </a:xfrm>
            <a:prstGeom prst="round2SameRect">
              <a:avLst>
                <a:gd name="adj1" fmla="val 12617"/>
                <a:gd name="adj2" fmla="val 0"/>
              </a:avLst>
            </a:prstGeom>
            <a:solidFill>
              <a:schemeClr val="bg2">
                <a:lumMod val="85000"/>
                <a:lumOff val="1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772C7F9E-752C-4F7C-B72C-F4ED703002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42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+ 4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id="{CF44589E-C87B-4BC2-A536-3FA5D3AF92B6}"/>
              </a:ext>
            </a:extLst>
          </p:cNvPr>
          <p:cNvSpPr/>
          <p:nvPr userDrawn="1"/>
        </p:nvSpPr>
        <p:spPr>
          <a:xfrm>
            <a:off x="407985" y="1339483"/>
            <a:ext cx="5508628" cy="2340000"/>
          </a:xfrm>
          <a:prstGeom prst="round2SameRect">
            <a:avLst/>
          </a:prstGeom>
          <a:solidFill>
            <a:schemeClr val="bg2">
              <a:lumMod val="85000"/>
              <a:lumOff val="1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8" name="Rectangle: Top Corners Rounded 17">
            <a:extLst>
              <a:ext uri="{FF2B5EF4-FFF2-40B4-BE49-F238E27FC236}">
                <a16:creationId xmlns:a16="http://schemas.microsoft.com/office/drawing/2014/main" id="{0F4EB394-CA3D-404E-94D5-761AA4F0F78A}"/>
              </a:ext>
            </a:extLst>
          </p:cNvPr>
          <p:cNvSpPr/>
          <p:nvPr userDrawn="1"/>
        </p:nvSpPr>
        <p:spPr>
          <a:xfrm>
            <a:off x="6275388" y="1339490"/>
            <a:ext cx="5508624" cy="2339993"/>
          </a:xfrm>
          <a:prstGeom prst="round2SameRect">
            <a:avLst/>
          </a:prstGeom>
          <a:solidFill>
            <a:schemeClr val="bg2">
              <a:lumMod val="85000"/>
              <a:lumOff val="1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C22D8472-FB97-4411-B16F-1C5A756578C5}"/>
              </a:ext>
            </a:extLst>
          </p:cNvPr>
          <p:cNvSpPr/>
          <p:nvPr userDrawn="1"/>
        </p:nvSpPr>
        <p:spPr>
          <a:xfrm>
            <a:off x="407988" y="3968725"/>
            <a:ext cx="5508628" cy="2340000"/>
          </a:xfrm>
          <a:prstGeom prst="round2SameRect">
            <a:avLst/>
          </a:prstGeom>
          <a:solidFill>
            <a:schemeClr val="bg2">
              <a:lumMod val="85000"/>
              <a:lumOff val="1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2" name="Rectangle: Top Corners Rounded 21">
            <a:extLst>
              <a:ext uri="{FF2B5EF4-FFF2-40B4-BE49-F238E27FC236}">
                <a16:creationId xmlns:a16="http://schemas.microsoft.com/office/drawing/2014/main" id="{5B194865-523D-4314-B2A0-CF777F1E464F}"/>
              </a:ext>
            </a:extLst>
          </p:cNvPr>
          <p:cNvSpPr/>
          <p:nvPr userDrawn="1"/>
        </p:nvSpPr>
        <p:spPr>
          <a:xfrm>
            <a:off x="6275388" y="3968725"/>
            <a:ext cx="5508628" cy="2340000"/>
          </a:xfrm>
          <a:prstGeom prst="round2SameRect">
            <a:avLst/>
          </a:prstGeom>
          <a:solidFill>
            <a:schemeClr val="bg2">
              <a:lumMod val="85000"/>
              <a:lumOff val="1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5092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 1 line with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5FD92E1E-C124-49B5-ACA3-B58EA6BE5B4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2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087DA5-8C8D-4D67-A92C-D4EEE4E47F4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07988" y="1341438"/>
            <a:ext cx="11376026" cy="49672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423002-22A1-4105-B521-63BA27002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76845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1 lin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027294EC-23E5-4D63-8CC1-DA5C7A76547F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07986" y="1341438"/>
            <a:ext cx="11376027" cy="4967287"/>
          </a:xfrm>
        </p:spPr>
        <p:txBody>
          <a:bodyPr/>
          <a:lstStyle/>
          <a:p>
            <a:endParaRPr lang="en-ZA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FF58EE-49C3-4532-B45C-2749B2752F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83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bg>
      <p:bgPr>
        <a:gradFill>
          <a:gsLst>
            <a:gs pos="15000">
              <a:srgbClr val="3F3F3F"/>
            </a:gs>
            <a:gs pos="60000">
              <a:schemeClr val="accent4">
                <a:lumMod val="95000"/>
                <a:lumOff val="5000"/>
              </a:schemeClr>
            </a:gs>
            <a:gs pos="100000">
              <a:schemeClr val="accent4">
                <a:lumMod val="60000"/>
              </a:schemeClr>
            </a:gs>
          </a:gsLst>
          <a:path path="circle">
            <a:fillToRect l="50000" t="130000" r="50000" b="-3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CCB399B2-2B7A-4D9E-99D4-836A7E54E500}"/>
              </a:ext>
            </a:extLst>
          </p:cNvPr>
          <p:cNvGrpSpPr/>
          <p:nvPr userDrawn="1"/>
        </p:nvGrpSpPr>
        <p:grpSpPr>
          <a:xfrm>
            <a:off x="407987" y="253488"/>
            <a:ext cx="926055" cy="446058"/>
            <a:chOff x="11045825" y="379685"/>
            <a:chExt cx="727710" cy="350520"/>
          </a:xfrm>
        </p:grpSpPr>
        <p:grpSp>
          <p:nvGrpSpPr>
            <p:cNvPr id="11" name="Graphic 20">
              <a:extLst>
                <a:ext uri="{FF2B5EF4-FFF2-40B4-BE49-F238E27FC236}">
                  <a16:creationId xmlns:a16="http://schemas.microsoft.com/office/drawing/2014/main" id="{C2F0447A-CBA5-4735-AEBE-B9D10D89D5F8}"/>
                </a:ext>
              </a:extLst>
            </p:cNvPr>
            <p:cNvGrpSpPr/>
            <p:nvPr/>
          </p:nvGrpSpPr>
          <p:grpSpPr>
            <a:xfrm>
              <a:off x="11219180" y="486365"/>
              <a:ext cx="381952" cy="125729"/>
              <a:chOff x="11219180" y="459203"/>
              <a:chExt cx="381952" cy="125729"/>
            </a:xfrm>
            <a:solidFill>
              <a:schemeClr val="tx1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9D2471B1-2F3A-4B4A-9D9C-3942F7643F8B}"/>
                  </a:ext>
                </a:extLst>
              </p:cNvPr>
              <p:cNvSpPr/>
              <p:nvPr/>
            </p:nvSpPr>
            <p:spPr>
              <a:xfrm>
                <a:off x="11219180" y="459203"/>
                <a:ext cx="124777" cy="125729"/>
              </a:xfrm>
              <a:custGeom>
                <a:avLst/>
                <a:gdLst>
                  <a:gd name="connsiteX0" fmla="*/ 124777 w 124777"/>
                  <a:gd name="connsiteY0" fmla="*/ 0 h 125729"/>
                  <a:gd name="connsiteX1" fmla="*/ 124777 w 124777"/>
                  <a:gd name="connsiteY1" fmla="*/ 125730 h 125729"/>
                  <a:gd name="connsiteX2" fmla="*/ 92392 w 124777"/>
                  <a:gd name="connsiteY2" fmla="*/ 125730 h 125729"/>
                  <a:gd name="connsiteX3" fmla="*/ 92392 w 124777"/>
                  <a:gd name="connsiteY3" fmla="*/ 55245 h 125729"/>
                  <a:gd name="connsiteX4" fmla="*/ 70485 w 124777"/>
                  <a:gd name="connsiteY4" fmla="*/ 89535 h 125729"/>
                  <a:gd name="connsiteX5" fmla="*/ 53340 w 124777"/>
                  <a:gd name="connsiteY5" fmla="*/ 89535 h 125729"/>
                  <a:gd name="connsiteX6" fmla="*/ 29527 w 124777"/>
                  <a:gd name="connsiteY6" fmla="*/ 55245 h 125729"/>
                  <a:gd name="connsiteX7" fmla="*/ 29527 w 124777"/>
                  <a:gd name="connsiteY7" fmla="*/ 125730 h 125729"/>
                  <a:gd name="connsiteX8" fmla="*/ 0 w 124777"/>
                  <a:gd name="connsiteY8" fmla="*/ 125730 h 125729"/>
                  <a:gd name="connsiteX9" fmla="*/ 0 w 124777"/>
                  <a:gd name="connsiteY9" fmla="*/ 0 h 125729"/>
                  <a:gd name="connsiteX10" fmla="*/ 30480 w 124777"/>
                  <a:gd name="connsiteY10" fmla="*/ 0 h 125729"/>
                  <a:gd name="connsiteX11" fmla="*/ 64770 w 124777"/>
                  <a:gd name="connsiteY11" fmla="*/ 49530 h 125729"/>
                  <a:gd name="connsiteX12" fmla="*/ 95250 w 124777"/>
                  <a:gd name="connsiteY12" fmla="*/ 0 h 125729"/>
                  <a:gd name="connsiteX13" fmla="*/ 124777 w 124777"/>
                  <a:gd name="connsiteY13" fmla="*/ 0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4777" h="125729">
                    <a:moveTo>
                      <a:pt x="124777" y="0"/>
                    </a:moveTo>
                    <a:lnTo>
                      <a:pt x="124777" y="125730"/>
                    </a:lnTo>
                    <a:lnTo>
                      <a:pt x="92392" y="125730"/>
                    </a:lnTo>
                    <a:lnTo>
                      <a:pt x="92392" y="55245"/>
                    </a:lnTo>
                    <a:lnTo>
                      <a:pt x="70485" y="89535"/>
                    </a:lnTo>
                    <a:lnTo>
                      <a:pt x="53340" y="89535"/>
                    </a:lnTo>
                    <a:lnTo>
                      <a:pt x="29527" y="55245"/>
                    </a:lnTo>
                    <a:lnTo>
                      <a:pt x="29527" y="125730"/>
                    </a:lnTo>
                    <a:lnTo>
                      <a:pt x="0" y="125730"/>
                    </a:lnTo>
                    <a:lnTo>
                      <a:pt x="0" y="0"/>
                    </a:lnTo>
                    <a:lnTo>
                      <a:pt x="30480" y="0"/>
                    </a:lnTo>
                    <a:lnTo>
                      <a:pt x="64770" y="49530"/>
                    </a:lnTo>
                    <a:lnTo>
                      <a:pt x="95250" y="0"/>
                    </a:lnTo>
                    <a:lnTo>
                      <a:pt x="124777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86ABC73D-2F73-4D44-A77F-1E5591217836}"/>
                  </a:ext>
                </a:extLst>
              </p:cNvPr>
              <p:cNvSpPr/>
              <p:nvPr/>
            </p:nvSpPr>
            <p:spPr>
              <a:xfrm>
                <a:off x="11360150" y="459203"/>
                <a:ext cx="111442" cy="125729"/>
              </a:xfrm>
              <a:custGeom>
                <a:avLst/>
                <a:gdLst>
                  <a:gd name="connsiteX0" fmla="*/ 0 w 111442"/>
                  <a:gd name="connsiteY0" fmla="*/ 28575 h 125729"/>
                  <a:gd name="connsiteX1" fmla="*/ 0 w 111442"/>
                  <a:gd name="connsiteY1" fmla="*/ 0 h 125729"/>
                  <a:gd name="connsiteX2" fmla="*/ 111443 w 111442"/>
                  <a:gd name="connsiteY2" fmla="*/ 0 h 125729"/>
                  <a:gd name="connsiteX3" fmla="*/ 111443 w 111442"/>
                  <a:gd name="connsiteY3" fmla="*/ 28575 h 125729"/>
                  <a:gd name="connsiteX4" fmla="*/ 72390 w 111442"/>
                  <a:gd name="connsiteY4" fmla="*/ 28575 h 125729"/>
                  <a:gd name="connsiteX5" fmla="*/ 72390 w 111442"/>
                  <a:gd name="connsiteY5" fmla="*/ 125730 h 125729"/>
                  <a:gd name="connsiteX6" fmla="*/ 39052 w 111442"/>
                  <a:gd name="connsiteY6" fmla="*/ 125730 h 125729"/>
                  <a:gd name="connsiteX7" fmla="*/ 39052 w 111442"/>
                  <a:gd name="connsiteY7" fmla="*/ 28575 h 125729"/>
                  <a:gd name="connsiteX8" fmla="*/ 0 w 111442"/>
                  <a:gd name="connsiteY8" fmla="*/ 28575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442" h="125729">
                    <a:moveTo>
                      <a:pt x="0" y="28575"/>
                    </a:moveTo>
                    <a:lnTo>
                      <a:pt x="0" y="0"/>
                    </a:lnTo>
                    <a:lnTo>
                      <a:pt x="111443" y="0"/>
                    </a:lnTo>
                    <a:lnTo>
                      <a:pt x="111443" y="28575"/>
                    </a:lnTo>
                    <a:lnTo>
                      <a:pt x="72390" y="28575"/>
                    </a:lnTo>
                    <a:lnTo>
                      <a:pt x="72390" y="125730"/>
                    </a:lnTo>
                    <a:lnTo>
                      <a:pt x="39052" y="125730"/>
                    </a:lnTo>
                    <a:lnTo>
                      <a:pt x="39052" y="28575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3841B2A5-D894-494C-9098-CB20AA4F79F4}"/>
                  </a:ext>
                </a:extLst>
              </p:cNvPr>
              <p:cNvSpPr/>
              <p:nvPr/>
            </p:nvSpPr>
            <p:spPr>
              <a:xfrm>
                <a:off x="11487785" y="459203"/>
                <a:ext cx="113347" cy="125729"/>
              </a:xfrm>
              <a:custGeom>
                <a:avLst/>
                <a:gdLst>
                  <a:gd name="connsiteX0" fmla="*/ 113347 w 113347"/>
                  <a:gd name="connsiteY0" fmla="*/ 0 h 125729"/>
                  <a:gd name="connsiteX1" fmla="*/ 113347 w 113347"/>
                  <a:gd name="connsiteY1" fmla="*/ 125730 h 125729"/>
                  <a:gd name="connsiteX2" fmla="*/ 85725 w 113347"/>
                  <a:gd name="connsiteY2" fmla="*/ 125730 h 125729"/>
                  <a:gd name="connsiteX3" fmla="*/ 29527 w 113347"/>
                  <a:gd name="connsiteY3" fmla="*/ 54293 h 125729"/>
                  <a:gd name="connsiteX4" fmla="*/ 29527 w 113347"/>
                  <a:gd name="connsiteY4" fmla="*/ 125730 h 125729"/>
                  <a:gd name="connsiteX5" fmla="*/ 0 w 113347"/>
                  <a:gd name="connsiteY5" fmla="*/ 125730 h 125729"/>
                  <a:gd name="connsiteX6" fmla="*/ 0 w 113347"/>
                  <a:gd name="connsiteY6" fmla="*/ 0 h 125729"/>
                  <a:gd name="connsiteX7" fmla="*/ 29527 w 113347"/>
                  <a:gd name="connsiteY7" fmla="*/ 0 h 125729"/>
                  <a:gd name="connsiteX8" fmla="*/ 82867 w 113347"/>
                  <a:gd name="connsiteY8" fmla="*/ 69533 h 125729"/>
                  <a:gd name="connsiteX9" fmla="*/ 82867 w 113347"/>
                  <a:gd name="connsiteY9" fmla="*/ 0 h 125729"/>
                  <a:gd name="connsiteX10" fmla="*/ 113347 w 113347"/>
                  <a:gd name="connsiteY10" fmla="*/ 0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3347" h="125729">
                    <a:moveTo>
                      <a:pt x="113347" y="0"/>
                    </a:moveTo>
                    <a:lnTo>
                      <a:pt x="113347" y="125730"/>
                    </a:lnTo>
                    <a:lnTo>
                      <a:pt x="85725" y="125730"/>
                    </a:lnTo>
                    <a:lnTo>
                      <a:pt x="29527" y="54293"/>
                    </a:lnTo>
                    <a:lnTo>
                      <a:pt x="29527" y="125730"/>
                    </a:lnTo>
                    <a:lnTo>
                      <a:pt x="0" y="125730"/>
                    </a:lnTo>
                    <a:lnTo>
                      <a:pt x="0" y="0"/>
                    </a:lnTo>
                    <a:lnTo>
                      <a:pt x="29527" y="0"/>
                    </a:lnTo>
                    <a:lnTo>
                      <a:pt x="82867" y="69533"/>
                    </a:lnTo>
                    <a:lnTo>
                      <a:pt x="82867" y="0"/>
                    </a:lnTo>
                    <a:lnTo>
                      <a:pt x="113347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</p:grp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54C6AEE-20DC-408D-9AC3-097ACA01D95C}"/>
                </a:ext>
              </a:extLst>
            </p:cNvPr>
            <p:cNvSpPr/>
            <p:nvPr/>
          </p:nvSpPr>
          <p:spPr>
            <a:xfrm>
              <a:off x="11045825" y="379685"/>
              <a:ext cx="727710" cy="350520"/>
            </a:xfrm>
            <a:custGeom>
              <a:avLst/>
              <a:gdLst>
                <a:gd name="connsiteX0" fmla="*/ 727710 w 727710"/>
                <a:gd name="connsiteY0" fmla="*/ 175260 h 350520"/>
                <a:gd name="connsiteX1" fmla="*/ 363855 w 727710"/>
                <a:gd name="connsiteY1" fmla="*/ 350520 h 350520"/>
                <a:gd name="connsiteX2" fmla="*/ 0 w 727710"/>
                <a:gd name="connsiteY2" fmla="*/ 175260 h 350520"/>
                <a:gd name="connsiteX3" fmla="*/ 363855 w 727710"/>
                <a:gd name="connsiteY3" fmla="*/ 0 h 350520"/>
                <a:gd name="connsiteX4" fmla="*/ 727710 w 727710"/>
                <a:gd name="connsiteY4" fmla="*/ 175260 h 35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7710" h="350520">
                  <a:moveTo>
                    <a:pt x="727710" y="175260"/>
                  </a:moveTo>
                  <a:cubicBezTo>
                    <a:pt x="727710" y="272053"/>
                    <a:pt x="564807" y="350520"/>
                    <a:pt x="363855" y="350520"/>
                  </a:cubicBezTo>
                  <a:cubicBezTo>
                    <a:pt x="162903" y="350520"/>
                    <a:pt x="0" y="272053"/>
                    <a:pt x="0" y="175260"/>
                  </a:cubicBezTo>
                  <a:cubicBezTo>
                    <a:pt x="0" y="78467"/>
                    <a:pt x="162903" y="0"/>
                    <a:pt x="363855" y="0"/>
                  </a:cubicBezTo>
                  <a:cubicBezTo>
                    <a:pt x="564807" y="0"/>
                    <a:pt x="727710" y="78467"/>
                    <a:pt x="727710" y="175260"/>
                  </a:cubicBez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D4A3944-896D-4FFB-8F2E-DD1A6D7239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55254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A2667DC-85D5-46F1-A099-9F2BD706F316}"/>
              </a:ext>
            </a:extLst>
          </p:cNvPr>
          <p:cNvSpPr/>
          <p:nvPr userDrawn="1"/>
        </p:nvSpPr>
        <p:spPr>
          <a:xfrm>
            <a:off x="407987" y="1341438"/>
            <a:ext cx="11376026" cy="49672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3AD6EE24-DAF7-43D2-AED9-97630C3FB16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1458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 no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EDBA0D3-3ED8-48AD-9069-D13EE8D9C9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0247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no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62004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FCD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11C3D9D-1E30-B247-924A-5D3958D76D0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 algn="ctr">
              <a:defRPr sz="1800" b="0" i="0">
                <a:latin typeface="MTN Brighter Sans Light" pitchFamily="2" charset="77"/>
              </a:defRPr>
            </a:lvl1pPr>
          </a:lstStyle>
          <a:p>
            <a:r>
              <a:rPr lang="en-GB"/>
              <a:t>Click icon to insert picture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7A0FA39F-18D8-864E-917E-720171EC85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469" y="5422900"/>
            <a:ext cx="1720850" cy="11557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defRPr sz="2500" b="1" i="1"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84468DDF-0310-C543-A5DA-C8469AC3A4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3055" y="4120006"/>
            <a:ext cx="5505450" cy="3847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defRPr sz="2500" b="0" i="1"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00 Month 0000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CA0287EC-C168-324F-9920-E03E7EDD82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0549" y="1093100"/>
            <a:ext cx="5299263" cy="25033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0000"/>
              </a:lnSpc>
              <a:defRPr sz="9500" b="1" i="0">
                <a:latin typeface="MTN Brighter Sans ExtraBold" pitchFamily="2" charset="77"/>
              </a:defRPr>
            </a:lvl1pPr>
          </a:lstStyle>
          <a:p>
            <a:pPr lvl="0"/>
            <a:r>
              <a:rPr lang="en-GB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45048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AF56D0F2-4915-1040-97F6-0118CDEBA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182" y="3253912"/>
            <a:ext cx="11713637" cy="39822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ctr">
              <a:spcBef>
                <a:spcPts val="0"/>
              </a:spcBef>
              <a:defRPr sz="2800" b="1" i="0">
                <a:latin typeface="MTN Brighter Sans Bold" pitchFamily="2" charset="77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2DC3C8DC-1F38-C34E-B703-B598575F8B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0" y="3816390"/>
            <a:ext cx="11713637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MTN Brighter Sans" pitchFamily="2" charset="77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050AE4-FD82-6B45-8D3A-93732A42FF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0651" y="6467520"/>
            <a:ext cx="1790700" cy="177800"/>
          </a:xfrm>
          <a:prstGeom prst="rect">
            <a:avLst/>
          </a:prstGeom>
        </p:spPr>
      </p:pic>
      <p:pic>
        <p:nvPicPr>
          <p:cNvPr id="18" name="Picture 9">
            <a:extLst>
              <a:ext uri="{FF2B5EF4-FFF2-40B4-BE49-F238E27FC236}">
                <a16:creationId xmlns:a16="http://schemas.microsoft.com/office/drawing/2014/main" id="{3716CC9C-210A-DA40-A118-523C3505DC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219842" y="436693"/>
            <a:ext cx="1752317" cy="87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94698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B65E985-CF9C-1E42-9FF9-25E310BBB5C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5303" y="2135397"/>
            <a:ext cx="2865881" cy="108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44475" indent="0">
              <a:buNone/>
              <a:defRPr/>
            </a:lvl2pPr>
            <a:lvl3pPr marL="352425" indent="0">
              <a:buNone/>
              <a:defRPr/>
            </a:lvl3pPr>
            <a:lvl4pPr marL="515937" indent="0">
              <a:buNone/>
              <a:defRPr/>
            </a:lvl4pPr>
            <a:lvl5pPr marL="663575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71E6F1C0-4F2A-DE4A-810F-9FAB18E3B8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5303" y="2915043"/>
            <a:ext cx="2865881" cy="108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44475" indent="0">
              <a:buNone/>
              <a:defRPr/>
            </a:lvl2pPr>
            <a:lvl3pPr marL="352425" indent="0">
              <a:buNone/>
              <a:defRPr/>
            </a:lvl3pPr>
            <a:lvl4pPr marL="515937" indent="0">
              <a:buNone/>
              <a:defRPr/>
            </a:lvl4pPr>
            <a:lvl5pPr marL="663575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218B46E0-56E9-3F42-A151-1C37CEDA7EC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5303" y="3680251"/>
            <a:ext cx="2865881" cy="108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44475" indent="0">
              <a:buNone/>
              <a:defRPr/>
            </a:lvl2pPr>
            <a:lvl3pPr marL="352425" indent="0">
              <a:buNone/>
              <a:defRPr/>
            </a:lvl3pPr>
            <a:lvl4pPr marL="515937" indent="0">
              <a:buNone/>
              <a:defRPr/>
            </a:lvl4pPr>
            <a:lvl5pPr marL="663575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2DDEA35-7EF8-1641-AFB0-31051730204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5303" y="4455084"/>
            <a:ext cx="2865881" cy="108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44475" indent="0">
              <a:buNone/>
              <a:defRPr/>
            </a:lvl2pPr>
            <a:lvl3pPr marL="352425" indent="0">
              <a:buNone/>
              <a:defRPr/>
            </a:lvl3pPr>
            <a:lvl4pPr marL="515937" indent="0">
              <a:buNone/>
              <a:defRPr/>
            </a:lvl4pPr>
            <a:lvl5pPr marL="663575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C2A6CBA-702A-2E4D-B630-3A039C735F5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85303" y="5234731"/>
            <a:ext cx="2865881" cy="108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244475" indent="0">
              <a:buNone/>
              <a:defRPr/>
            </a:lvl2pPr>
            <a:lvl3pPr marL="352425" indent="0">
              <a:buNone/>
              <a:defRPr/>
            </a:lvl3pPr>
            <a:lvl4pPr marL="515937" indent="0">
              <a:buNone/>
              <a:defRPr/>
            </a:lvl4pPr>
            <a:lvl5pPr marL="663575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84468DDF-0310-C543-A5DA-C8469AC3A4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5303" y="1741808"/>
            <a:ext cx="2086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defRPr sz="1400" b="1" i="1">
                <a:solidFill>
                  <a:schemeClr val="tx1"/>
                </a:solidFill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Click to insert header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6683CBA3-A59C-614A-9CE9-5146DD7A6B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11961" y="1634862"/>
            <a:ext cx="439223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>
              <a:lnSpc>
                <a:spcPct val="100000"/>
              </a:lnSpc>
              <a:defRPr sz="2800" b="1" i="0">
                <a:solidFill>
                  <a:schemeClr val="tx1"/>
                </a:solidFill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E5D3E3E8-190C-1C4F-ACCF-C1F48D9C17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5303" y="2515187"/>
            <a:ext cx="2086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defRPr sz="1400" b="1" i="1">
                <a:solidFill>
                  <a:schemeClr val="tx1"/>
                </a:solidFill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Click to insert header</a:t>
            </a:r>
          </a:p>
        </p:txBody>
      </p:sp>
      <p:sp>
        <p:nvSpPr>
          <p:cNvPr id="30" name="Text Placeholder 20">
            <a:extLst>
              <a:ext uri="{FF2B5EF4-FFF2-40B4-BE49-F238E27FC236}">
                <a16:creationId xmlns:a16="http://schemas.microsoft.com/office/drawing/2014/main" id="{09BD714D-C1C0-3942-9E60-AFFD09D82F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11961" y="2408241"/>
            <a:ext cx="439223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>
              <a:lnSpc>
                <a:spcPct val="100000"/>
              </a:lnSpc>
              <a:defRPr sz="2800" b="1" i="0">
                <a:solidFill>
                  <a:schemeClr val="tx1"/>
                </a:solidFill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DA824228-0608-F546-AF31-0A42789A63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5303" y="3288566"/>
            <a:ext cx="2086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defRPr sz="1400" b="1" i="1">
                <a:solidFill>
                  <a:schemeClr val="tx1"/>
                </a:solidFill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Click to insert header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1E313115-9222-D849-8C8C-918A3466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11961" y="3181620"/>
            <a:ext cx="439223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>
              <a:lnSpc>
                <a:spcPct val="100000"/>
              </a:lnSpc>
              <a:defRPr sz="2800" b="1" i="0">
                <a:solidFill>
                  <a:schemeClr val="tx1"/>
                </a:solidFill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26BC84AC-AA8E-DB4C-89B4-8A3753AF811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85303" y="4061945"/>
            <a:ext cx="2086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defRPr sz="1400" b="1" i="1">
                <a:solidFill>
                  <a:schemeClr val="tx1"/>
                </a:solidFill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Click to insert header</a:t>
            </a: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5ED7C4BC-B335-0145-BC87-2AE07722387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11961" y="3954999"/>
            <a:ext cx="439223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>
              <a:lnSpc>
                <a:spcPct val="100000"/>
              </a:lnSpc>
              <a:defRPr sz="2800" b="1" i="0">
                <a:solidFill>
                  <a:schemeClr val="tx1"/>
                </a:solidFill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3664FD9-E929-BE4B-B056-977F9799622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5303" y="4835326"/>
            <a:ext cx="208685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defRPr sz="1400" b="1" i="1">
                <a:solidFill>
                  <a:schemeClr val="tx1"/>
                </a:solidFill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Click to insert header</a:t>
            </a:r>
          </a:p>
        </p:txBody>
      </p:sp>
      <p:sp>
        <p:nvSpPr>
          <p:cNvPr id="39" name="Text Placeholder 20">
            <a:extLst>
              <a:ext uri="{FF2B5EF4-FFF2-40B4-BE49-F238E27FC236}">
                <a16:creationId xmlns:a16="http://schemas.microsoft.com/office/drawing/2014/main" id="{B135FAC9-93E4-244B-9DDC-E72CD3E83F9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011961" y="4728380"/>
            <a:ext cx="439223" cy="43088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>
              <a:lnSpc>
                <a:spcPct val="100000"/>
              </a:lnSpc>
              <a:defRPr sz="2800" b="1" i="0">
                <a:solidFill>
                  <a:schemeClr val="tx1"/>
                </a:solidFill>
                <a:latin typeface="MTN Brighter Sans Bold" pitchFamily="2" charset="77"/>
              </a:defRPr>
            </a:lvl1pPr>
          </a:lstStyle>
          <a:p>
            <a:pPr lvl="0"/>
            <a:r>
              <a:rPr lang="en-GB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822971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FB16232-C6D9-486F-B9FE-990852BCA6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8CFF1-9E10-4019-9686-5CFDC0477B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1954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77E1A4-9FE7-31BC-A5B3-AF493218C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4FD851-088F-3EFB-D1C8-BC4A7D8263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92FCB6-81BD-1F93-18E5-31CCAD519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5ACBA-AFB0-A549-834F-A6B756FEBAB6}" type="datetimeFigureOut">
              <a:rPr lang="en-GB" smtClean="0"/>
              <a:t>27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EEBD65-72AB-250A-85B3-75A5B9857C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48C365-0210-7979-1359-E4C59E814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E5460-627F-EC41-84ED-54B5B04510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62609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E443AB4-6947-C3F3-AC9B-DD22FA310E6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061787E-961D-43B8-7BE9-0F228708C3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FB13D0-691C-C4FD-D8F3-4282B44E5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25ACBA-AFB0-A549-834F-A6B756FEBAB6}" type="datetimeFigureOut">
              <a:rPr lang="en-GB" smtClean="0"/>
              <a:t>27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F54911-25AF-298F-58F3-5ED1C2DD7F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BBEBEA-19BC-B765-1585-8506C1ABD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E5460-627F-EC41-84ED-54B5B04510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13136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ustom Layout">
    <p:bg>
      <p:bgPr>
        <a:solidFill>
          <a:srgbClr val="FFCD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7"/>
          <p:cNvSpPr txBox="1"/>
          <p:nvPr userDrawn="1"/>
        </p:nvSpPr>
        <p:spPr>
          <a:xfrm>
            <a:off x="10124868" y="6130382"/>
            <a:ext cx="1624312" cy="276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</a:t>
            </a:r>
          </a:p>
        </p:txBody>
      </p:sp>
      <p:sp>
        <p:nvSpPr>
          <p:cNvPr id="31" name="Text Placeholder 29"/>
          <p:cNvSpPr/>
          <p:nvPr/>
        </p:nvSpPr>
        <p:spPr>
          <a:xfrm>
            <a:off x="393835" y="5772267"/>
            <a:ext cx="1260004" cy="63000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miter lim="400000"/>
          </a:ln>
        </p:spPr>
        <p:txBody>
          <a:bodyPr lIns="45718" tIns="45718" rIns="45718" bIns="45718"/>
          <a:lstStyle/>
          <a:p>
            <a:pPr defTabSz="685781">
              <a:lnSpc>
                <a:spcPct val="110000"/>
              </a:lnSpc>
              <a:spcBef>
                <a:spcPts val="200"/>
              </a:spcBef>
              <a:defRPr sz="9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pPr>
            <a:endParaRPr/>
          </a:p>
        </p:txBody>
      </p:sp>
      <p:sp>
        <p:nvSpPr>
          <p:cNvPr id="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8019" y="6487069"/>
            <a:ext cx="198629" cy="203201"/>
          </a:xfrm>
          <a:prstGeom prst="rect">
            <a:avLst/>
          </a:prstGeom>
          <a:noFill/>
        </p:spPr>
        <p:txBody>
          <a:bodyPr wrap="none"/>
          <a:lstStyle>
            <a:lvl1pPr algn="r">
              <a:defRPr sz="1200" b="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163034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_Thank Yo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TN_WHITE.png" hidden="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52" t="10513" r="8548" b="26742"/>
          <a:stretch/>
        </p:blipFill>
        <p:spPr>
          <a:xfrm>
            <a:off x="13103958" y="4978043"/>
            <a:ext cx="1808020" cy="105955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27382" y="5085185"/>
            <a:ext cx="41163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5400" i="0" kern="1200" spc="-100">
                <a:solidFill>
                  <a:schemeClr val="tx1"/>
                </a:solidFill>
                <a:latin typeface="+mj-lt"/>
              </a:rPr>
              <a:t>thank </a:t>
            </a:r>
            <a:r>
              <a:rPr lang="en-ZA" sz="5400" b="1" i="1" kern="1200" spc="-100">
                <a:solidFill>
                  <a:schemeClr val="tx1"/>
                </a:solidFill>
                <a:latin typeface="+mj-lt"/>
              </a:rPr>
              <a:t>you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CB05"/>
              </a:clrFrom>
              <a:clrTo>
                <a:srgbClr val="FFCB0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03446" y="4570413"/>
            <a:ext cx="2115700" cy="1860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73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9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_with_pic_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5AFFA046-C8FB-1244-8C6F-B2B7EA438A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29847" y="584201"/>
            <a:ext cx="5974778" cy="1776750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indent="0" algn="l">
              <a:lnSpc>
                <a:spcPct val="90000"/>
              </a:lnSpc>
              <a:defRPr sz="3900" b="1" i="0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Click to add header</a:t>
            </a:r>
          </a:p>
        </p:txBody>
      </p:sp>
      <p:sp>
        <p:nvSpPr>
          <p:cNvPr id="13" name="Text Placeholder 20">
            <a:extLst>
              <a:ext uri="{FF2B5EF4-FFF2-40B4-BE49-F238E27FC236}">
                <a16:creationId xmlns:a16="http://schemas.microsoft.com/office/drawing/2014/main" id="{4835027B-8811-7543-885F-B953B235268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29847" y="2619643"/>
            <a:ext cx="5974778" cy="310565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lnSpc>
                <a:spcPct val="110000"/>
              </a:lnSpc>
              <a:defRPr sz="1600" b="0" i="0">
                <a:latin typeface="MTN Brighter Sans" pitchFamily="2" charset="77"/>
              </a:defRPr>
            </a:lvl1pPr>
          </a:lstStyle>
          <a:p>
            <a:pPr>
              <a:lnSpc>
                <a:spcPct val="110000"/>
              </a:lnSpc>
              <a:defRPr sz="16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pPr>
            <a:r>
              <a:rPr lang="en-ZA" dirty="0"/>
              <a:t>Click to add copy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2CBF6720-F9A9-F44D-A0CF-E6BACCED4A52}"/>
              </a:ext>
            </a:extLst>
          </p:cNvPr>
          <p:cNvSpPr/>
          <p:nvPr userDrawn="1"/>
        </p:nvSpPr>
        <p:spPr>
          <a:xfrm>
            <a:off x="-3" y="6273800"/>
            <a:ext cx="12192005" cy="584200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D83CE854-A712-7E48-BEAF-032FE23960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20395" y="6484496"/>
            <a:ext cx="5503353" cy="1706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90000"/>
              </a:lnSpc>
              <a:defRPr sz="1200" b="1" i="0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Click to add presentation titl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426392A7-B347-C848-BA54-E4033FFAD3F2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604625" y="6484496"/>
            <a:ext cx="588054" cy="1706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>
              <a:lnSpc>
                <a:spcPct val="90000"/>
              </a:lnSpc>
              <a:defRPr sz="1200" b="1" i="0">
                <a:latin typeface="MTN Brighter Sans Bold" pitchFamily="2" charset="77"/>
                <a:ea typeface="MTN Brighter Sans Bold" pitchFamily="2" charset="77"/>
                <a:cs typeface="MTN Brighter Sans Bold" pitchFamily="2" charset="77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21980067-937F-2246-942D-2245E3DB7A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273800"/>
            <a:ext cx="869880" cy="58420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defRPr sz="2500" b="1" i="1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00871123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DFCA40-D900-CBC4-08CB-B79605DD21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02F396-ED38-16D8-D419-7C43CA3DC5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BF9E4B-8F91-FCE9-B724-637B69F90C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E9F8AF-6E91-0EDD-007E-9F3FCFC94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C79B22-1655-F477-8933-F2BA4AABC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051656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5F9669-85F2-E371-90AB-90B8061961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655E38-8E00-5E50-6E7D-F936CCEE8E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E9E4FB-17A5-17DA-7BD5-4EDDDA737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3F3A5-3D74-3517-B1D3-C658C3557C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90903-410C-5D30-3006-86F08D61C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213816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F1CEC4-AB65-D506-3AF7-90922F380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84F279-B714-2170-5B95-322A9FC559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43F723-C2E5-7D46-6EED-73C85BEC78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CAC73C-7C72-C038-4F39-23D8D507D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010138-AB37-8299-E6BE-889A9BEF9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138964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F9D9DEB-837D-0843-B05E-FA0A6F8F27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2" name="Section name here">
            <a:extLst>
              <a:ext uri="{FF2B5EF4-FFF2-40B4-BE49-F238E27FC236}">
                <a16:creationId xmlns:a16="http://schemas.microsoft.com/office/drawing/2014/main" id="{9B3D95BC-8BCB-CB48-AB92-71452E319EC9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1326CFF3-A19E-9E47-A258-C0309CED0D6F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871180C-3C4F-0944-AB2F-80015A77A30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6589B4-AD9F-1348-A067-6E43D2B9EF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9182" y="1987552"/>
            <a:ext cx="11713633" cy="40682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10541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884F7-46FD-9C3D-0CEB-AF3D924158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6708AC-261F-29BE-523F-96DDD56519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48D739-E7BF-03DD-ACBC-FC5F2526FD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929435-DA9A-9DAE-03BB-7F237CF108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7D1A02-C556-3E78-B334-D002016435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CA9F1B-F3CE-11C8-A73F-C900BC8FE3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98697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841B1D-0D51-4AED-8079-984AF4CCB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56582-E0C3-F66A-E94A-6630811247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D45F64-AF64-B887-C457-2B99E7A7C9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222443-3074-6C2D-D582-D369D2A7FAA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40BF14A-F56A-27B6-687E-381894BB94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4E744ED-F8BE-8205-139B-3F34688E5B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D4FE25E-7A5A-8C4E-191C-9942D1A97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0B93BD-2040-921C-C76A-F4D7DE7861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607712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6639FD-C7B9-B2F7-447D-2FFA78564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F5F47F-1B4F-AF9B-AC61-F4CAE0D54F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E5B4F5-DFBC-D69E-E8A1-32D70873F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0BAB3F-D320-7D17-9CDA-E4E7DBA59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052357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EDA5488-9B01-D8DE-0D89-01A109A767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D03763-1155-B6D0-430F-CA93C81CB0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C77E52-BFF1-0244-9F0F-495FA420D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763455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D5A188-77EA-2728-0008-3DC2956950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798092-7DAE-2236-2C65-6C0EA9F296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DC26E2-4C8D-342B-4C65-04BB4096E4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8E26B7-01C2-777B-F852-3046272837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CC56A2-6C1D-4267-629A-339359E59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E9DE45-B538-91C4-0762-8D8E4412E7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868004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077B63-FB98-12AD-E92C-A37CD8842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D1B2409-ADF2-EE51-8262-738C2A3156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43F736-B8F2-E298-E719-E209E3A5DA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41B9BD-1347-A727-53A6-291528047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08332B-9E72-E7FF-56BD-9042F6DA2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E989B3-26D2-22DD-7EB6-FD58AF688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294989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C52C7C-4B5B-6E5D-E5E1-5D7BEC76D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CEC713F-9EF4-7D58-AFDA-4D5885297D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1AE189-D179-AAB4-C61F-D030E935C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6550C8-6A34-E5E4-0063-1EEEDDF0C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7FA37-42DC-D58D-79F7-EA923A42F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861145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7CD50AD-BEC2-8559-CD80-D5B4279D193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A408F33-DDC3-8A05-3C25-7E5C34FF83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AEFE66-378E-9679-6AB7-D53AE1502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5D5537-2EB9-BCB5-0BF2-0AA4B0199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B4A356-905E-9D29-8C83-B227CF3BA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246467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ustom Layout">
    <p:bg>
      <p:bgPr>
        <a:solidFill>
          <a:srgbClr val="FFCD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7"/>
          <p:cNvSpPr txBox="1"/>
          <p:nvPr userDrawn="1"/>
        </p:nvSpPr>
        <p:spPr>
          <a:xfrm>
            <a:off x="10124868" y="6130382"/>
            <a:ext cx="1624312" cy="276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</a:t>
            </a:r>
          </a:p>
        </p:txBody>
      </p:sp>
      <p:sp>
        <p:nvSpPr>
          <p:cNvPr id="31" name="Text Placeholder 29"/>
          <p:cNvSpPr/>
          <p:nvPr/>
        </p:nvSpPr>
        <p:spPr>
          <a:xfrm>
            <a:off x="393835" y="5772267"/>
            <a:ext cx="1260004" cy="63000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miter lim="400000"/>
          </a:ln>
        </p:spPr>
        <p:txBody>
          <a:bodyPr lIns="45718" tIns="45718" rIns="45718" bIns="45718"/>
          <a:lstStyle/>
          <a:p>
            <a:pPr defTabSz="685781">
              <a:lnSpc>
                <a:spcPct val="110000"/>
              </a:lnSpc>
              <a:spcBef>
                <a:spcPts val="200"/>
              </a:spcBef>
              <a:defRPr sz="9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pPr>
            <a:endParaRPr/>
          </a:p>
        </p:txBody>
      </p:sp>
      <p:sp>
        <p:nvSpPr>
          <p:cNvPr id="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8019" y="6487069"/>
            <a:ext cx="198629" cy="203201"/>
          </a:xfrm>
          <a:prstGeom prst="rect">
            <a:avLst/>
          </a:prstGeom>
          <a:noFill/>
        </p:spPr>
        <p:txBody>
          <a:bodyPr wrap="none"/>
          <a:lstStyle>
            <a:lvl1pPr algn="r">
              <a:defRPr sz="1200" b="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2876594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ubDivider">
    <p:bg>
      <p:bgPr>
        <a:solidFill>
          <a:srgbClr val="FFCD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 Placeholder 29"/>
          <p:cNvSpPr/>
          <p:nvPr/>
        </p:nvSpPr>
        <p:spPr>
          <a:xfrm>
            <a:off x="1596908" y="1581346"/>
            <a:ext cx="1260003" cy="63000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miter lim="400000"/>
          </a:ln>
        </p:spPr>
        <p:txBody>
          <a:bodyPr lIns="45718" tIns="45718" rIns="45718" bIns="45718"/>
          <a:lstStyle/>
          <a:p>
            <a:pPr defTabSz="685781">
              <a:lnSpc>
                <a:spcPct val="110000"/>
              </a:lnSpc>
              <a:spcBef>
                <a:spcPts val="200"/>
              </a:spcBef>
              <a:defRPr sz="9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pPr>
            <a:endParaRPr/>
          </a:p>
        </p:txBody>
      </p:sp>
      <p:sp>
        <p:nvSpPr>
          <p:cNvPr id="41" name="TextBox 1"/>
          <p:cNvSpPr txBox="1">
            <a:spLocks noGrp="1"/>
          </p:cNvSpPr>
          <p:nvPr>
            <p:ph type="body" sz="quarter" idx="21"/>
          </p:nvPr>
        </p:nvSpPr>
        <p:spPr>
          <a:xfrm>
            <a:off x="1556513" y="2983229"/>
            <a:ext cx="10149841" cy="891541"/>
          </a:xfrm>
          <a:prstGeom prst="rect">
            <a:avLst/>
          </a:prstGeom>
        </p:spPr>
        <p:txBody>
          <a:bodyPr lIns="45719" tIns="45719" rIns="45719" bIns="45719">
            <a:spAutoFit/>
          </a:bodyPr>
          <a:lstStyle>
            <a:lvl1pPr defTabSz="914400">
              <a:defRPr sz="4800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Sub-header</a:t>
            </a:r>
          </a:p>
        </p:txBody>
      </p:sp>
      <p:sp>
        <p:nvSpPr>
          <p:cNvPr id="4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8019" y="6487069"/>
            <a:ext cx="198629" cy="203201"/>
          </a:xfrm>
          <a:prstGeom prst="rect">
            <a:avLst/>
          </a:prstGeom>
          <a:noFill/>
        </p:spPr>
        <p:txBody>
          <a:bodyPr wrap="none"/>
          <a:lstStyle>
            <a:lvl1pPr algn="r">
              <a:defRPr sz="1200" b="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826607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3A01C11-47C7-491B-9C74-DCF6841DB9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9184" y="1987463"/>
            <a:ext cx="11713632" cy="40682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7952" marR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b="0" i="0" dirty="0">
                <a:latin typeface="MTN Brighter Sans Light" pitchFamily="2" charset="77"/>
              </a:defRPr>
            </a:lvl1pPr>
            <a:lvl2pPr marL="361934" marR="0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2pPr>
            <a:lvl3pPr marL="533373" marR="0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b="0" i="0" dirty="0">
                <a:latin typeface="MTN Brighter Sans Light" pitchFamily="2" charset="77"/>
              </a:defRPr>
            </a:lvl3pPr>
            <a:lvl4pPr marL="679418" marR="0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4pPr>
            <a:lvl5pPr marL="815934" marR="0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b="0" i="0" dirty="0">
                <a:latin typeface="MTN Brighter Sans Light" pitchFamily="2" charset="77"/>
              </a:defRPr>
            </a:lvl5pPr>
          </a:lstStyle>
          <a:p>
            <a:pPr marL="207952" marR="0" lvl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rst level</a:t>
            </a:r>
          </a:p>
          <a:p>
            <a:pPr marL="361934" marR="0" lvl="1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Second level</a:t>
            </a:r>
          </a:p>
          <a:p>
            <a:pPr marL="533373" marR="0" lvl="2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Third level</a:t>
            </a:r>
          </a:p>
          <a:p>
            <a:pPr marL="679418" marR="0" lvl="3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ourth level</a:t>
            </a:r>
          </a:p>
          <a:p>
            <a:pPr marL="815934" marR="0" lvl="4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 pitchFamily="2" charset="77"/>
              <a:ea typeface="+mn-ea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F9D9DEB-837D-0843-B05E-FA0A6F8F27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2" name="Section name here">
            <a:extLst>
              <a:ext uri="{FF2B5EF4-FFF2-40B4-BE49-F238E27FC236}">
                <a16:creationId xmlns:a16="http://schemas.microsoft.com/office/drawing/2014/main" id="{9B3D95BC-8BCB-CB48-AB92-71452E319EC9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1326CFF3-A19E-9E47-A258-C0309CED0D6F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871180C-3C4F-0944-AB2F-80015A77A30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972170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, sub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97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98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99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10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4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8915769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TextBox 16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08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09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110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11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4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4134253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TextBox 6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20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21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122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123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1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4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71321869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" name="Picture 2" descr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3" t="3379" r="29418" b="1632"/>
          <a:stretch>
            <a:fillRect/>
          </a:stretch>
        </p:blipFill>
        <p:spPr>
          <a:xfrm>
            <a:off x="6052456" y="1397383"/>
            <a:ext cx="2300290" cy="5443541"/>
          </a:xfrm>
          <a:prstGeom prst="rect">
            <a:avLst/>
          </a:prstGeom>
          <a:ln w="12700">
            <a:miter lim="400000"/>
          </a:ln>
        </p:spPr>
      </p:pic>
      <p:sp>
        <p:nvSpPr>
          <p:cNvPr id="132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6392293" y="2226393"/>
            <a:ext cx="1411176" cy="367506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pic>
        <p:nvPicPr>
          <p:cNvPr id="133" name="Picture 2" descr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443" t="3379" r="29418" b="1633"/>
          <a:stretch>
            <a:fillRect/>
          </a:stretch>
        </p:blipFill>
        <p:spPr>
          <a:xfrm>
            <a:off x="7976507" y="726540"/>
            <a:ext cx="2583770" cy="6114384"/>
          </a:xfrm>
          <a:prstGeom prst="rect">
            <a:avLst/>
          </a:prstGeom>
          <a:ln w="12700">
            <a:miter lim="400000"/>
          </a:ln>
        </p:spPr>
      </p:pic>
      <p:sp>
        <p:nvSpPr>
          <p:cNvPr id="134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8352745" y="1659190"/>
            <a:ext cx="1585084" cy="412796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35" name="TextBox 9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36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37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138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139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14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4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57262788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" name="Picture 23" descr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2458" y="1826936"/>
            <a:ext cx="2583848" cy="4534584"/>
          </a:xfrm>
          <a:prstGeom prst="rect">
            <a:avLst/>
          </a:prstGeom>
          <a:ln w="12700">
            <a:miter lim="400000"/>
          </a:ln>
        </p:spPr>
      </p:pic>
      <p:sp>
        <p:nvSpPr>
          <p:cNvPr id="148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438427" y="2326773"/>
            <a:ext cx="1757366" cy="314937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49" name="TextBox 5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50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51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152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153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15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4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1712714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Picture 5" descr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0579" y="1768499"/>
            <a:ext cx="8970844" cy="5018950"/>
          </a:xfrm>
          <a:prstGeom prst="rect">
            <a:avLst/>
          </a:prstGeom>
          <a:ln w="12700">
            <a:miter lim="400000"/>
          </a:ln>
        </p:spPr>
      </p:pic>
      <p:sp>
        <p:nvSpPr>
          <p:cNvPr id="162" name="Picture Placeholder 6"/>
          <p:cNvSpPr>
            <a:spLocks noGrp="1"/>
          </p:cNvSpPr>
          <p:nvPr>
            <p:ph type="pic" sz="half" idx="21"/>
          </p:nvPr>
        </p:nvSpPr>
        <p:spPr>
          <a:xfrm>
            <a:off x="3338283" y="2002240"/>
            <a:ext cx="5606542" cy="3520375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63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64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65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166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167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1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4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1454279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928914" y="2011681"/>
            <a:ext cx="4572002" cy="2736168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76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pic>
        <p:nvPicPr>
          <p:cNvPr id="177" name="Picture 4" descr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8584" y="1712890"/>
            <a:ext cx="5212983" cy="4778570"/>
          </a:xfrm>
          <a:prstGeom prst="rect">
            <a:avLst/>
          </a:prstGeom>
          <a:ln w="12700">
            <a:miter lim="400000"/>
          </a:ln>
        </p:spPr>
      </p:pic>
      <p:sp>
        <p:nvSpPr>
          <p:cNvPr id="178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79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180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181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18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4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9852661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Picture 5" descr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5969" y="1725178"/>
            <a:ext cx="3738125" cy="5090830"/>
          </a:xfrm>
          <a:prstGeom prst="rect">
            <a:avLst/>
          </a:prstGeom>
          <a:ln w="12700">
            <a:miter lim="400000"/>
          </a:ln>
        </p:spPr>
      </p:pic>
      <p:sp>
        <p:nvSpPr>
          <p:cNvPr id="190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6831103" y="2130013"/>
            <a:ext cx="2947598" cy="390502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91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92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193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194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195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19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4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7990202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3" name="Picture 2" descr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0723" y="2050438"/>
            <a:ext cx="6376307" cy="4554029"/>
          </a:xfrm>
          <a:prstGeom prst="rect">
            <a:avLst/>
          </a:prstGeom>
          <a:ln w="12700">
            <a:miter lim="400000"/>
          </a:ln>
        </p:spPr>
      </p:pic>
      <p:sp>
        <p:nvSpPr>
          <p:cNvPr id="204" name="Picture Placeholder 4"/>
          <p:cNvSpPr>
            <a:spLocks noGrp="1"/>
          </p:cNvSpPr>
          <p:nvPr>
            <p:ph type="pic" sz="half" idx="21"/>
          </p:nvPr>
        </p:nvSpPr>
        <p:spPr>
          <a:xfrm>
            <a:off x="5108575" y="2334408"/>
            <a:ext cx="4760913" cy="355768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05" name="TextBox 6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206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207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208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209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2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4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11453940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218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219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220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221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22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3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6028549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363D30A-4379-074D-8A9B-35AEF0ED74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91664" y="1987463"/>
            <a:ext cx="5661152" cy="40682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7952" marR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b="0" i="0" dirty="0">
                <a:latin typeface="MTN Brighter Sans Light" pitchFamily="2" charset="77"/>
              </a:defRPr>
            </a:lvl1pPr>
            <a:lvl2pPr marL="361934" marR="0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2pPr>
            <a:lvl3pPr marL="533373" marR="0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b="0" i="0" dirty="0">
                <a:latin typeface="MTN Brighter Sans Light" pitchFamily="2" charset="77"/>
              </a:defRPr>
            </a:lvl3pPr>
            <a:lvl4pPr marL="679418" marR="0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4pPr>
            <a:lvl5pPr marL="815934" marR="0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b="0" i="0" dirty="0">
                <a:latin typeface="MTN Brighter Sans Light" pitchFamily="2" charset="77"/>
              </a:defRPr>
            </a:lvl5pPr>
          </a:lstStyle>
          <a:p>
            <a:pPr marL="207952" marR="0" lvl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rst level</a:t>
            </a:r>
          </a:p>
          <a:p>
            <a:pPr marL="361934" marR="0" lvl="1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Second level</a:t>
            </a:r>
          </a:p>
          <a:p>
            <a:pPr marL="533373" marR="0" lvl="2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Third level</a:t>
            </a:r>
          </a:p>
          <a:p>
            <a:pPr marL="679418" marR="0" lvl="3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ourth level</a:t>
            </a:r>
          </a:p>
          <a:p>
            <a:pPr marL="815934" marR="0" lvl="4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 pitchFamily="2" charset="77"/>
              <a:ea typeface="+mn-ea"/>
              <a:cs typeface="+mn-cs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4C844A7F-028B-4C40-AD10-6ADF08ACD2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B4665B9F-A1C8-C747-82D1-96680999B1C0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4" name="Section name here">
            <a:extLst>
              <a:ext uri="{FF2B5EF4-FFF2-40B4-BE49-F238E27FC236}">
                <a16:creationId xmlns:a16="http://schemas.microsoft.com/office/drawing/2014/main" id="{C6464404-284A-504A-A427-FC32F4B24049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C035488D-3A04-F048-B002-2B9430E9E40D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20B02-E04B-3340-9B60-7D579BC3BA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69055" y="1987552"/>
            <a:ext cx="5662084" cy="40682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1pPr>
            <a:lvl2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2pPr>
            <a:lvl3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3pPr>
            <a:lvl4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4pPr>
            <a:lvl5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61607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5349189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9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237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238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239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240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24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3842287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Title Text"/>
          <p:cNvSpPr txBox="1">
            <a:spLocks noGrp="1"/>
          </p:cNvSpPr>
          <p:nvPr>
            <p:ph type="title"/>
          </p:nvPr>
        </p:nvSpPr>
        <p:spPr>
          <a:xfrm>
            <a:off x="6713635" y="1166060"/>
            <a:ext cx="1467124" cy="6523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defTabSz="1175657">
              <a:lnSpc>
                <a:spcPct val="100000"/>
              </a:lnSpc>
              <a:defRPr sz="2600">
                <a:solidFill>
                  <a:srgbClr val="3A2872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249" name="Body Level One…"/>
          <p:cNvSpPr txBox="1">
            <a:spLocks noGrp="1"/>
          </p:cNvSpPr>
          <p:nvPr>
            <p:ph type="body" idx="1"/>
          </p:nvPr>
        </p:nvSpPr>
        <p:spPr>
          <a:xfrm>
            <a:off x="1947892" y="1703839"/>
            <a:ext cx="8304377" cy="4209507"/>
          </a:xfrm>
          <a:prstGeom prst="rect">
            <a:avLst/>
          </a:prstGeom>
        </p:spPr>
        <p:txBody>
          <a:bodyPr/>
          <a:lstStyle>
            <a:lvl1pPr defTabSz="1175657">
              <a:defRPr sz="1600">
                <a:solidFill>
                  <a:srgbClr val="231F20"/>
                </a:solidFill>
                <a:latin typeface="Averta for TBWA Light"/>
                <a:ea typeface="Averta for TBWA Light"/>
                <a:cs typeface="Averta for TBWA Light"/>
                <a:sym typeface="Averta for TBWA Light"/>
              </a:defRPr>
            </a:lvl1pPr>
            <a:lvl2pPr marL="0" indent="0" defTabSz="1175657">
              <a:buSzTx/>
              <a:buNone/>
              <a:defRPr sz="1600">
                <a:solidFill>
                  <a:srgbClr val="231F20"/>
                </a:solidFill>
                <a:latin typeface="Averta for TBWA Light"/>
                <a:ea typeface="Averta for TBWA Light"/>
                <a:cs typeface="Averta for TBWA Light"/>
                <a:sym typeface="Averta for TBWA Light"/>
              </a:defRPr>
            </a:lvl2pPr>
            <a:lvl3pPr marL="0" indent="0" defTabSz="1175657">
              <a:buSzTx/>
              <a:buNone/>
              <a:defRPr sz="1600">
                <a:solidFill>
                  <a:srgbClr val="231F20"/>
                </a:solidFill>
                <a:latin typeface="Averta for TBWA Light"/>
                <a:ea typeface="Averta for TBWA Light"/>
                <a:cs typeface="Averta for TBWA Light"/>
                <a:sym typeface="Averta for TBWA Light"/>
              </a:defRPr>
            </a:lvl3pPr>
            <a:lvl4pPr marL="0" indent="0" defTabSz="1175657">
              <a:buSzTx/>
              <a:buNone/>
              <a:defRPr sz="1600">
                <a:solidFill>
                  <a:srgbClr val="231F20"/>
                </a:solidFill>
                <a:latin typeface="Averta for TBWA Light"/>
                <a:ea typeface="Averta for TBWA Light"/>
                <a:cs typeface="Averta for TBWA Light"/>
                <a:sym typeface="Averta for TBWA Light"/>
              </a:defRPr>
            </a:lvl4pPr>
            <a:lvl5pPr marL="0" indent="0" defTabSz="1175657">
              <a:buSzTx/>
              <a:buNone/>
              <a:defRPr sz="1600">
                <a:solidFill>
                  <a:srgbClr val="231F20"/>
                </a:solidFill>
                <a:latin typeface="Averta for TBWA Light"/>
                <a:ea typeface="Averta for TBWA Light"/>
                <a:cs typeface="Averta for TBWA Light"/>
                <a:sym typeface="Averta for TBWA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0179809" y="6377940"/>
            <a:ext cx="295922" cy="660401"/>
          </a:xfrm>
          <a:prstGeom prst="rect">
            <a:avLst/>
          </a:prstGeom>
        </p:spPr>
        <p:txBody>
          <a:bodyPr anchor="t"/>
          <a:lstStyle>
            <a:lvl1pPr defTabSz="587827">
              <a:defRPr sz="22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44800656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5_Title and Content">
    <p:bg>
      <p:bgPr>
        <a:gradFill flip="none" rotWithShape="1">
          <a:gsLst>
            <a:gs pos="0">
              <a:srgbClr val="FFCD05"/>
            </a:gs>
            <a:gs pos="33000">
              <a:srgbClr val="F7C600"/>
            </a:gs>
            <a:gs pos="100000">
              <a:srgbClr val="DDB100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Title Text"/>
          <p:cNvSpPr txBox="1">
            <a:spLocks noGrp="1"/>
          </p:cNvSpPr>
          <p:nvPr>
            <p:ph type="title"/>
          </p:nvPr>
        </p:nvSpPr>
        <p:spPr>
          <a:xfrm>
            <a:off x="610849" y="391540"/>
            <a:ext cx="10883287" cy="5114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3300"/>
              </a:lnSpc>
              <a:defRPr sz="3000" b="0">
                <a:latin typeface="MTN Brighter Sans Light"/>
                <a:ea typeface="MTN Brighter Sans Light"/>
                <a:cs typeface="MTN Brighter Sans Light"/>
                <a:sym typeface="MTN Brighter Sans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2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2933126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0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266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267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268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269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27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6628266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278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279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280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281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282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5506480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Title Text"/>
          <p:cNvSpPr txBox="1">
            <a:spLocks noGrp="1"/>
          </p:cNvSpPr>
          <p:nvPr>
            <p:ph type="title"/>
          </p:nvPr>
        </p:nvSpPr>
        <p:spPr>
          <a:xfrm>
            <a:off x="609600" y="274636"/>
            <a:ext cx="10972800" cy="11430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  <p:sp>
        <p:nvSpPr>
          <p:cNvPr id="303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304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305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306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30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0600" y="6469062"/>
            <a:ext cx="2743200" cy="139701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04396029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329" name="Title Text"/>
          <p:cNvSpPr txBox="1"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6000"/>
            </a:lvl1pPr>
          </a:lstStyle>
          <a:p>
            <a:r>
              <a:t>Title Text</a:t>
            </a:r>
          </a:p>
        </p:txBody>
      </p:sp>
      <p:sp>
        <p:nvSpPr>
          <p:cNvPr id="33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831850" y="4589464"/>
            <a:ext cx="10515600" cy="1500188"/>
          </a:xfrm>
          <a:prstGeom prst="rect">
            <a:avLst/>
          </a:prstGeom>
        </p:spPr>
        <p:txBody>
          <a:bodyPr/>
          <a:lstStyle>
            <a:lvl1pPr defTabSz="914400">
              <a:lnSpc>
                <a:spcPct val="90000"/>
              </a:lnSpc>
              <a:defRPr sz="2400" b="1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indent="457200" defTabSz="914400">
              <a:lnSpc>
                <a:spcPct val="90000"/>
              </a:lnSpc>
              <a:buSzTx/>
              <a:buNone/>
              <a:defRPr sz="2400" b="1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0" indent="914400" defTabSz="914400">
              <a:lnSpc>
                <a:spcPct val="90000"/>
              </a:lnSpc>
              <a:buSzTx/>
              <a:buNone/>
              <a:defRPr sz="2400" b="1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0" indent="1371600" defTabSz="914400">
              <a:lnSpc>
                <a:spcPct val="90000"/>
              </a:lnSpc>
              <a:buSzTx/>
              <a:buNone/>
              <a:defRPr sz="2400" b="1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0" indent="1828800" defTabSz="914400">
              <a:lnSpc>
                <a:spcPct val="90000"/>
              </a:lnSpc>
              <a:buSzTx/>
              <a:buNone/>
              <a:defRPr sz="2400" b="1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31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332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333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334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3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3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4401115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, subtitle &amp;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Shape 1009"/>
          <p:cNvSpPr txBox="1"/>
          <p:nvPr/>
        </p:nvSpPr>
        <p:spPr>
          <a:xfrm>
            <a:off x="393699" y="6568609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343" name="Title Text"/>
          <p:cNvSpPr txBox="1">
            <a:spLocks noGrp="1"/>
          </p:cNvSpPr>
          <p:nvPr>
            <p:ph type="title"/>
          </p:nvPr>
        </p:nvSpPr>
        <p:spPr>
          <a:xfrm>
            <a:off x="392514" y="345229"/>
            <a:ext cx="11404602" cy="493814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Title Text</a:t>
            </a:r>
          </a:p>
        </p:txBody>
      </p:sp>
      <p:sp>
        <p:nvSpPr>
          <p:cNvPr id="344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398864" y="1513629"/>
            <a:ext cx="5505452" cy="3455990"/>
          </a:xfrm>
          <a:prstGeom prst="rect">
            <a:avLst/>
          </a:prstGeom>
        </p:spPr>
        <p:txBody>
          <a:bodyPr/>
          <a:lstStyle>
            <a:lvl1pPr marL="152400" indent="-152400" defTabSz="914400">
              <a:lnSpc>
                <a:spcPct val="110000"/>
              </a:lnSpc>
              <a:spcBef>
                <a:spcPts val="300"/>
              </a:spcBef>
              <a:defRPr b="1"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322261" indent="-160335" defTabSz="914400">
              <a:lnSpc>
                <a:spcPct val="110000"/>
              </a:lnSpc>
              <a:spcBef>
                <a:spcPts val="300"/>
              </a:spcBef>
              <a:defRPr b="1"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493712" indent="-161925" defTabSz="914400">
              <a:lnSpc>
                <a:spcPct val="110000"/>
              </a:lnSpc>
              <a:spcBef>
                <a:spcPts val="300"/>
              </a:spcBef>
              <a:defRPr b="1"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654050" indent="-160337" defTabSz="914400">
              <a:lnSpc>
                <a:spcPct val="110000"/>
              </a:lnSpc>
              <a:spcBef>
                <a:spcPts val="300"/>
              </a:spcBef>
              <a:defRPr b="1"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defTabSz="914400">
              <a:lnSpc>
                <a:spcPct val="110000"/>
              </a:lnSpc>
              <a:spcBef>
                <a:spcPts val="300"/>
              </a:spcBef>
              <a:defRPr b="1">
                <a:latin typeface="Century Gothic"/>
                <a:ea typeface="Century Gothic"/>
                <a:cs typeface="Century Gothic"/>
                <a:sym typeface="Century Gothic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45" name="Shape 1012"/>
          <p:cNvSpPr>
            <a:spLocks noGrp="1"/>
          </p:cNvSpPr>
          <p:nvPr>
            <p:ph type="body" sz="quarter" idx="21"/>
          </p:nvPr>
        </p:nvSpPr>
        <p:spPr>
          <a:xfrm>
            <a:off x="392513" y="860611"/>
            <a:ext cx="11404605" cy="268819"/>
          </a:xfrm>
          <a:prstGeom prst="rect">
            <a:avLst/>
          </a:prstGeom>
        </p:spPr>
        <p:txBody>
          <a:bodyPr/>
          <a:lstStyle/>
          <a:p>
            <a:pPr marL="72389" indent="-72389" defTabSz="434340">
              <a:lnSpc>
                <a:spcPct val="110000"/>
              </a:lnSpc>
              <a:spcBef>
                <a:spcPts val="100"/>
              </a:spcBef>
              <a:defRPr sz="1100" b="1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346" name="Shape 1013"/>
          <p:cNvSpPr>
            <a:spLocks noGrp="1"/>
          </p:cNvSpPr>
          <p:nvPr>
            <p:ph type="body" sz="half" idx="22"/>
          </p:nvPr>
        </p:nvSpPr>
        <p:spPr>
          <a:xfrm>
            <a:off x="6285314" y="1533525"/>
            <a:ext cx="5505452" cy="4103692"/>
          </a:xfrm>
          <a:prstGeom prst="rect">
            <a:avLst/>
          </a:prstGeom>
        </p:spPr>
        <p:txBody>
          <a:bodyPr/>
          <a:lstStyle/>
          <a:p>
            <a:pPr marL="76200" indent="-76200" defTabSz="914400">
              <a:lnSpc>
                <a:spcPct val="110000"/>
              </a:lnSpc>
              <a:spcBef>
                <a:spcPts val="100"/>
              </a:spcBef>
              <a:defRPr b="1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3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4" y="6168559"/>
            <a:ext cx="619128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13611249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392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393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394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395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39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36750078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82CC0E3-C737-461B-B4F5-DD460CE8E8EB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239184" y="2259917"/>
            <a:ext cx="11713632" cy="3795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tabl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A0503A3-75D2-2F4E-A8A6-13FC9C70CF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24399E81-401B-BA48-9EB3-02E66881EA9D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4" name="Section name here">
            <a:extLst>
              <a:ext uri="{FF2B5EF4-FFF2-40B4-BE49-F238E27FC236}">
                <a16:creationId xmlns:a16="http://schemas.microsoft.com/office/drawing/2014/main" id="{86ED424A-4CCF-CF4A-9D4C-28FA24435F73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FF3A299B-7FDB-9D47-A2AC-D6F224534958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09979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with image_2">
    <p:bg>
      <p:bgPr>
        <a:solidFill>
          <a:srgbClr val="FFCD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grpSp>
        <p:nvGrpSpPr>
          <p:cNvPr id="413" name="Group 1"/>
          <p:cNvGrpSpPr/>
          <p:nvPr/>
        </p:nvGrpSpPr>
        <p:grpSpPr>
          <a:xfrm>
            <a:off x="0" y="5310073"/>
            <a:ext cx="12192001" cy="1547931"/>
            <a:chOff x="0" y="0"/>
            <a:chExt cx="12192000" cy="1547929"/>
          </a:xfrm>
        </p:grpSpPr>
        <p:sp>
          <p:nvSpPr>
            <p:cNvPr id="404" name="Freeform: Shape 15"/>
            <p:cNvSpPr/>
            <p:nvPr/>
          </p:nvSpPr>
          <p:spPr>
            <a:xfrm>
              <a:off x="0" y="243519"/>
              <a:ext cx="12192001" cy="130441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11" y="620"/>
                  </a:lnTo>
                  <a:cubicBezTo>
                    <a:pt x="3305" y="6008"/>
                    <a:pt x="6915" y="9154"/>
                    <a:pt x="10800" y="9154"/>
                  </a:cubicBezTo>
                  <a:cubicBezTo>
                    <a:pt x="14685" y="9154"/>
                    <a:pt x="18295" y="6008"/>
                    <a:pt x="21289" y="620"/>
                  </a:cubicBez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CB0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grpSp>
          <p:nvGrpSpPr>
            <p:cNvPr id="412" name="Group 5"/>
            <p:cNvGrpSpPr/>
            <p:nvPr/>
          </p:nvGrpSpPr>
          <p:grpSpPr>
            <a:xfrm>
              <a:off x="10648107" y="-1"/>
              <a:ext cx="1150195" cy="1151376"/>
              <a:chOff x="0" y="0"/>
              <a:chExt cx="1150193" cy="1151374"/>
            </a:xfrm>
          </p:grpSpPr>
          <p:sp>
            <p:nvSpPr>
              <p:cNvPr id="405" name="Rectangle 20"/>
              <p:cNvSpPr/>
              <p:nvPr/>
            </p:nvSpPr>
            <p:spPr>
              <a:xfrm>
                <a:off x="-1" y="-1"/>
                <a:ext cx="1150195" cy="1151376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406" name="Rectangle 21"/>
              <p:cNvSpPr/>
              <p:nvPr/>
            </p:nvSpPr>
            <p:spPr>
              <a:xfrm>
                <a:off x="57863" y="57862"/>
                <a:ext cx="1034466" cy="1035649"/>
              </a:xfrm>
              <a:prstGeom prst="rect">
                <a:avLst/>
              </a:prstGeom>
              <a:solidFill>
                <a:srgbClr val="FECA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407" name="Oval 22"/>
              <p:cNvSpPr/>
              <p:nvPr/>
            </p:nvSpPr>
            <p:spPr>
              <a:xfrm>
                <a:off x="86205" y="374343"/>
                <a:ext cx="977783" cy="402689"/>
              </a:xfrm>
              <a:prstGeom prst="ellipse">
                <a:avLst/>
              </a:prstGeom>
              <a:solidFill>
                <a:srgbClr val="05689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408" name="Freeform 23"/>
              <p:cNvSpPr/>
              <p:nvPr/>
            </p:nvSpPr>
            <p:spPr>
              <a:xfrm>
                <a:off x="531402" y="474719"/>
                <a:ext cx="179498" cy="1582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037" y="6931"/>
                    </a:moveTo>
                    <a:lnTo>
                      <a:pt x="21600" y="0"/>
                    </a:lnTo>
                    <a:lnTo>
                      <a:pt x="1563" y="0"/>
                    </a:lnTo>
                    <a:lnTo>
                      <a:pt x="0" y="6931"/>
                    </a:lnTo>
                    <a:lnTo>
                      <a:pt x="6537" y="6931"/>
                    </a:lnTo>
                    <a:lnTo>
                      <a:pt x="3268" y="21600"/>
                    </a:lnTo>
                    <a:lnTo>
                      <a:pt x="10232" y="21600"/>
                    </a:lnTo>
                    <a:lnTo>
                      <a:pt x="13500" y="6931"/>
                    </a:lnTo>
                    <a:lnTo>
                      <a:pt x="20037" y="6931"/>
                    </a:lnTo>
                    <a:close/>
                  </a:path>
                </a:pathLst>
              </a:custGeom>
              <a:solidFill>
                <a:srgbClr val="FECA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409" name="Freeform 24"/>
              <p:cNvSpPr/>
              <p:nvPr/>
            </p:nvSpPr>
            <p:spPr>
              <a:xfrm>
                <a:off x="262158" y="474719"/>
                <a:ext cx="266885" cy="2007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4910" y="0"/>
                    </a:lnTo>
                    <a:lnTo>
                      <a:pt x="10609" y="12706"/>
                    </a:lnTo>
                    <a:lnTo>
                      <a:pt x="10609" y="0"/>
                    </a:lnTo>
                    <a:lnTo>
                      <a:pt x="4110" y="0"/>
                    </a:lnTo>
                    <a:lnTo>
                      <a:pt x="0" y="21600"/>
                    </a:lnTo>
                    <a:lnTo>
                      <a:pt x="4492" y="21600"/>
                    </a:lnTo>
                    <a:lnTo>
                      <a:pt x="7168" y="7751"/>
                    </a:lnTo>
                    <a:lnTo>
                      <a:pt x="7168" y="21600"/>
                    </a:lnTo>
                    <a:lnTo>
                      <a:pt x="10609" y="21600"/>
                    </a:lnTo>
                    <a:lnTo>
                      <a:pt x="15770" y="7751"/>
                    </a:lnTo>
                    <a:lnTo>
                      <a:pt x="13285" y="21600"/>
                    </a:lnTo>
                    <a:lnTo>
                      <a:pt x="1749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410" name="Freeform 25"/>
              <p:cNvSpPr/>
              <p:nvPr/>
            </p:nvSpPr>
            <p:spPr>
              <a:xfrm>
                <a:off x="674291" y="474719"/>
                <a:ext cx="213744" cy="2007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6230" y="0"/>
                    </a:lnTo>
                    <a:lnTo>
                      <a:pt x="13604" y="11562"/>
                    </a:lnTo>
                    <a:lnTo>
                      <a:pt x="10979" y="0"/>
                    </a:lnTo>
                    <a:lnTo>
                      <a:pt x="5131" y="0"/>
                    </a:lnTo>
                    <a:lnTo>
                      <a:pt x="0" y="21600"/>
                    </a:lnTo>
                    <a:lnTo>
                      <a:pt x="5370" y="21600"/>
                    </a:lnTo>
                    <a:lnTo>
                      <a:pt x="8234" y="9911"/>
                    </a:lnTo>
                    <a:lnTo>
                      <a:pt x="10979" y="21600"/>
                    </a:lnTo>
                    <a:lnTo>
                      <a:pt x="1658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411" name="Freeform 26"/>
              <p:cNvSpPr/>
              <p:nvPr/>
            </p:nvSpPr>
            <p:spPr>
              <a:xfrm>
                <a:off x="547935" y="647130"/>
                <a:ext cx="64952" cy="2834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56" y="0"/>
                    </a:moveTo>
                    <a:lnTo>
                      <a:pt x="0" y="21600"/>
                    </a:lnTo>
                    <a:lnTo>
                      <a:pt x="19244" y="21600"/>
                    </a:lnTo>
                    <a:lnTo>
                      <a:pt x="21600" y="0"/>
                    </a:lnTo>
                    <a:lnTo>
                      <a:pt x="2356" y="0"/>
                    </a:lnTo>
                    <a:close/>
                  </a:path>
                </a:pathLst>
              </a:custGeom>
              <a:solidFill>
                <a:srgbClr val="E5242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</p:grpSp>
      </p:grpSp>
      <p:sp>
        <p:nvSpPr>
          <p:cNvPr id="414" name="Picture Placeholder 3"/>
          <p:cNvSpPr>
            <a:spLocks noGrp="1"/>
          </p:cNvSpPr>
          <p:nvPr>
            <p:ph type="pic" idx="21"/>
          </p:nvPr>
        </p:nvSpPr>
        <p:spPr>
          <a:xfrm>
            <a:off x="3496724" y="0"/>
            <a:ext cx="8695275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415" name="Rectangle 5"/>
          <p:cNvSpPr/>
          <p:nvPr/>
        </p:nvSpPr>
        <p:spPr>
          <a:xfrm>
            <a:off x="-6776" y="0"/>
            <a:ext cx="3503502" cy="685800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1300">
                <a:solidFill>
                  <a:srgbClr val="FFCD05"/>
                </a:solidFill>
              </a:defRPr>
            </a:pPr>
            <a:endParaRPr/>
          </a:p>
        </p:txBody>
      </p:sp>
      <p:sp>
        <p:nvSpPr>
          <p:cNvPr id="416" name="Add 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4379660" y="3028700"/>
            <a:ext cx="5217897" cy="3982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800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Add presentation title</a:t>
            </a:r>
          </a:p>
        </p:txBody>
      </p:sp>
      <p:sp>
        <p:nvSpPr>
          <p:cNvPr id="417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79660" y="3558349"/>
            <a:ext cx="2972788" cy="277000"/>
          </a:xfrm>
          <a:prstGeom prst="rect">
            <a:avLst/>
          </a:prstGeom>
        </p:spPr>
        <p:txBody>
          <a:bodyPr/>
          <a:lstStyle>
            <a:lvl1pPr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  <a:lvl2pPr marL="420687" indent="-176212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2pPr>
            <a:lvl3pPr marL="623887" indent="-271462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3pPr>
            <a:lvl4pPr marL="761206" indent="-245269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4pPr>
            <a:lvl5pPr marL="892175" indent="-228600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5pPr>
          </a:lstStyle>
          <a:p>
            <a:r>
              <a:t>Add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pic>
        <p:nvPicPr>
          <p:cNvPr id="418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2202" y="2990919"/>
            <a:ext cx="1752319" cy="876161"/>
          </a:xfrm>
          <a:prstGeom prst="rect">
            <a:avLst/>
          </a:prstGeom>
          <a:ln w="12700">
            <a:miter lim="400000"/>
          </a:ln>
        </p:spPr>
      </p:pic>
      <p:sp>
        <p:nvSpPr>
          <p:cNvPr id="41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5462060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oolkit master-yellow copy">
    <p:bg>
      <p:bgPr>
        <a:solidFill>
          <a:srgbClr val="F6CB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42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338853" y="396191"/>
            <a:ext cx="387928" cy="115417"/>
          </a:xfrm>
          <a:prstGeom prst="rect">
            <a:avLst/>
          </a:prstGeom>
        </p:spPr>
        <p:txBody>
          <a:bodyPr anchor="ctr"/>
          <a:lstStyle>
            <a:lvl1pPr defTabSz="412750">
              <a:defRPr sz="700" b="1" i="1">
                <a:latin typeface="+mn-lt"/>
                <a:ea typeface="+mn-ea"/>
                <a:cs typeface="+mn-cs"/>
                <a:sym typeface="MTN Brighter Sans Bold"/>
              </a:defRPr>
            </a:lvl1pPr>
            <a:lvl2pPr marL="313001" indent="-68526" defTabSz="412750">
              <a:defRPr sz="700" b="1" i="1">
                <a:latin typeface="+mn-lt"/>
                <a:ea typeface="+mn-ea"/>
                <a:cs typeface="+mn-cs"/>
                <a:sym typeface="MTN Brighter Sans Bold"/>
              </a:defRPr>
            </a:lvl2pPr>
            <a:lvl3pPr marL="457993" indent="-105568" defTabSz="412750">
              <a:defRPr sz="700" b="1" i="1">
                <a:latin typeface="+mn-lt"/>
                <a:ea typeface="+mn-ea"/>
                <a:cs typeface="+mn-cs"/>
                <a:sym typeface="MTN Brighter Sans Bold"/>
              </a:defRPr>
            </a:lvl3pPr>
            <a:lvl4pPr marL="611319" indent="-95382" defTabSz="412750">
              <a:defRPr sz="700" b="1" i="1">
                <a:latin typeface="+mn-lt"/>
                <a:ea typeface="+mn-ea"/>
                <a:cs typeface="+mn-cs"/>
                <a:sym typeface="MTN Brighter Sans Bold"/>
              </a:defRPr>
            </a:lvl4pPr>
            <a:lvl5pPr marL="752475" indent="-88900" defTabSz="412750">
              <a:defRPr sz="700" b="1" i="1">
                <a:latin typeface="+mn-lt"/>
                <a:ea typeface="+mn-ea"/>
                <a:cs typeface="+mn-cs"/>
                <a:sym typeface="MTN Brighter Sans Bold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428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724" y="5623020"/>
            <a:ext cx="1341816" cy="670912"/>
          </a:xfrm>
          <a:prstGeom prst="rect">
            <a:avLst/>
          </a:prstGeom>
          <a:ln w="12700">
            <a:miter lim="400000"/>
          </a:ln>
        </p:spPr>
      </p:pic>
      <p:sp>
        <p:nvSpPr>
          <p:cNvPr id="42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392513" y="6168558"/>
            <a:ext cx="619127" cy="1397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579344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 yellow_2">
    <p:bg>
      <p:bgPr>
        <a:solidFill>
          <a:schemeClr val="accent3">
            <a:lumOff val="1147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pic>
        <p:nvPicPr>
          <p:cNvPr id="453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84" y="260704"/>
            <a:ext cx="1066112" cy="533057"/>
          </a:xfrm>
          <a:prstGeom prst="rect">
            <a:avLst/>
          </a:prstGeom>
          <a:ln w="12700">
            <a:miter lim="400000"/>
          </a:ln>
        </p:spPr>
      </p:pic>
      <p:sp>
        <p:nvSpPr>
          <p:cNvPr id="454" name="Add 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239182" y="3253911"/>
            <a:ext cx="11713637" cy="3982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ctr">
              <a:defRPr sz="2800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Add presentation title</a:t>
            </a:r>
          </a:p>
        </p:txBody>
      </p:sp>
      <p:sp>
        <p:nvSpPr>
          <p:cNvPr id="455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39179" y="3816389"/>
            <a:ext cx="11713638" cy="277000"/>
          </a:xfrm>
          <a:prstGeom prst="rect">
            <a:avLst/>
          </a:prstGeom>
        </p:spPr>
        <p:txBody>
          <a:bodyPr/>
          <a:lstStyle>
            <a:lvl1pPr algn="ctr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  <a:lvl2pPr marL="420687" indent="-176212" algn="ctr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2pPr>
            <a:lvl3pPr marL="623887" indent="-271462" algn="ctr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3pPr>
            <a:lvl4pPr marL="761206" indent="-245269" algn="ctr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4pPr>
            <a:lvl5pPr marL="892175" indent="-228600" algn="ctr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5pPr>
          </a:lstStyle>
          <a:p>
            <a:r>
              <a:t>Add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56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457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458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459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460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46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24287153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 black_2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pic>
        <p:nvPicPr>
          <p:cNvPr id="486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84" y="260704"/>
            <a:ext cx="1066112" cy="533057"/>
          </a:xfrm>
          <a:prstGeom prst="rect">
            <a:avLst/>
          </a:prstGeom>
          <a:ln w="12700">
            <a:miter lim="400000"/>
          </a:ln>
        </p:spPr>
      </p:pic>
      <p:sp>
        <p:nvSpPr>
          <p:cNvPr id="487" name="Add 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239182" y="3253911"/>
            <a:ext cx="11713637" cy="3982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ctr">
              <a:defRPr sz="2800">
                <a:solidFill>
                  <a:schemeClr val="accent3">
                    <a:lumOff val="11470"/>
                  </a:schemeClr>
                </a:solidFill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Add presentation title</a:t>
            </a:r>
          </a:p>
        </p:txBody>
      </p:sp>
      <p:sp>
        <p:nvSpPr>
          <p:cNvPr id="488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39179" y="3816389"/>
            <a:ext cx="11713638" cy="277000"/>
          </a:xfrm>
          <a:prstGeom prst="rect">
            <a:avLst/>
          </a:prstGeom>
        </p:spPr>
        <p:txBody>
          <a:bodyPr/>
          <a:lstStyle>
            <a:lvl1pPr algn="ctr" defTabSz="914400">
              <a:defRPr sz="1800">
                <a:solidFill>
                  <a:schemeClr val="accent3">
                    <a:lumOff val="11470"/>
                  </a:schemeClr>
                </a:solidFill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  <a:lvl2pPr marL="420687" indent="-176212" algn="ctr" defTabSz="914400">
              <a:defRPr sz="1800">
                <a:solidFill>
                  <a:schemeClr val="accent3">
                    <a:lumOff val="11470"/>
                  </a:schemeClr>
                </a:solidFill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2pPr>
            <a:lvl3pPr marL="623887" indent="-271462" algn="ctr" defTabSz="914400">
              <a:defRPr sz="1800">
                <a:solidFill>
                  <a:schemeClr val="accent3">
                    <a:lumOff val="11470"/>
                  </a:schemeClr>
                </a:solidFill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3pPr>
            <a:lvl4pPr marL="761206" indent="-245269" algn="ctr" defTabSz="914400">
              <a:defRPr sz="1800">
                <a:solidFill>
                  <a:schemeClr val="accent3">
                    <a:lumOff val="11470"/>
                  </a:schemeClr>
                </a:solidFill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4pPr>
            <a:lvl5pPr marL="892175" indent="-228600" algn="ctr" defTabSz="914400">
              <a:defRPr sz="1800">
                <a:solidFill>
                  <a:schemeClr val="accent3">
                    <a:lumOff val="11470"/>
                  </a:schemeClr>
                </a:solidFill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5pPr>
          </a:lstStyle>
          <a:p>
            <a:r>
              <a:t>Add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489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490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491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492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493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49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7906927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Page"/>
          <p:cNvSpPr txBox="1"/>
          <p:nvPr/>
        </p:nvSpPr>
        <p:spPr>
          <a:xfrm>
            <a:off x="23012401" y="609704"/>
            <a:ext cx="458941" cy="2921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 defTabSz="825500">
              <a:defRPr sz="11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Page</a:t>
            </a:r>
          </a:p>
        </p:txBody>
      </p:sp>
      <p:pic>
        <p:nvPicPr>
          <p:cNvPr id="502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84" y="256460"/>
            <a:ext cx="1066112" cy="533057"/>
          </a:xfrm>
          <a:prstGeom prst="rect">
            <a:avLst/>
          </a:prstGeom>
          <a:ln w="12700">
            <a:miter lim="400000"/>
          </a:ln>
        </p:spPr>
      </p:pic>
      <p:sp>
        <p:nvSpPr>
          <p:cNvPr id="50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337583" y="400233"/>
            <a:ext cx="617368" cy="254001"/>
          </a:xfrm>
          <a:prstGeom prst="rect">
            <a:avLst/>
          </a:prstGeom>
        </p:spPr>
        <p:txBody>
          <a:bodyPr/>
          <a:lstStyle>
            <a:lvl1pPr algn="r" defTabSz="825478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4197074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Yellow title with descrip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0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511" name="Add 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787400" y="2593446"/>
            <a:ext cx="4689765" cy="11103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t>Add presentation title</a:t>
            </a:r>
          </a:p>
        </p:txBody>
      </p:sp>
      <p:sp>
        <p:nvSpPr>
          <p:cNvPr id="512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787400" y="3712109"/>
            <a:ext cx="4689453" cy="415782"/>
          </a:xfrm>
          <a:prstGeom prst="rect">
            <a:avLst/>
          </a:prstGeom>
        </p:spPr>
        <p:txBody>
          <a:bodyPr anchor="ctr"/>
          <a:lstStyle>
            <a:lvl1pPr defTabSz="914400">
              <a:lnSpc>
                <a:spcPct val="90000"/>
              </a:lnSpc>
              <a:defRPr sz="1800" b="1" i="1"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420687" indent="-176212" defTabSz="914400">
              <a:lnSpc>
                <a:spcPct val="90000"/>
              </a:lnSpc>
              <a:defRPr sz="1800" b="1" i="1"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623887" indent="-271462" defTabSz="914400">
              <a:lnSpc>
                <a:spcPct val="90000"/>
              </a:lnSpc>
              <a:defRPr sz="1800" b="1" i="1"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761206" indent="-245269" defTabSz="914400">
              <a:lnSpc>
                <a:spcPct val="90000"/>
              </a:lnSpc>
              <a:defRPr sz="1800" b="1" i="1"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892175" indent="-228600" defTabSz="914400">
              <a:lnSpc>
                <a:spcPct val="90000"/>
              </a:lnSpc>
              <a:defRPr sz="1800" b="1" i="1">
                <a:latin typeface="Century Gothic"/>
                <a:ea typeface="Century Gothic"/>
                <a:cs typeface="Century Gothic"/>
                <a:sym typeface="Century Gothic"/>
              </a:defRPr>
            </a:lvl5pPr>
          </a:lstStyle>
          <a:p>
            <a:r>
              <a:t>Add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513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514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515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516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517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51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5354988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566" name="Add 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239182" y="3253911"/>
            <a:ext cx="11713637" cy="3982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ctr">
              <a:defRPr sz="2800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Add presentation title</a:t>
            </a:r>
          </a:p>
        </p:txBody>
      </p:sp>
      <p:sp>
        <p:nvSpPr>
          <p:cNvPr id="567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39179" y="3816389"/>
            <a:ext cx="11713638" cy="277000"/>
          </a:xfrm>
          <a:prstGeom prst="rect">
            <a:avLst/>
          </a:prstGeom>
        </p:spPr>
        <p:txBody>
          <a:bodyPr/>
          <a:lstStyle>
            <a:lvl1pPr algn="ctr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  <a:lvl2pPr marL="420687" indent="-176212" algn="ctr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2pPr>
            <a:lvl3pPr marL="623887" indent="-271462" algn="ctr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3pPr>
            <a:lvl4pPr marL="761206" indent="-245269" algn="ctr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4pPr>
            <a:lvl5pPr marL="892175" indent="-228600" algn="ctr" defTabSz="914400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5pPr>
          </a:lstStyle>
          <a:p>
            <a:r>
              <a:t>Add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pic>
        <p:nvPicPr>
          <p:cNvPr id="568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9841" y="436693"/>
            <a:ext cx="1752318" cy="876161"/>
          </a:xfrm>
          <a:prstGeom prst="rect">
            <a:avLst/>
          </a:prstGeom>
          <a:ln w="12700">
            <a:miter lim="400000"/>
          </a:ln>
        </p:spPr>
      </p:pic>
      <p:sp>
        <p:nvSpPr>
          <p:cNvPr id="569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570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571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572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573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57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8843585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8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599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323361" y="187259"/>
            <a:ext cx="9000001" cy="360001"/>
          </a:xfrm>
          <a:prstGeom prst="rect">
            <a:avLst/>
          </a:prstGeom>
        </p:spPr>
        <p:txBody>
          <a:bodyPr/>
          <a:lstStyle>
            <a:lvl1pPr marL="152396" indent="-152396" defTabSz="914400">
              <a:lnSpc>
                <a:spcPct val="90000"/>
              </a:lnSpc>
              <a:defRPr sz="2800" b="1"/>
            </a:lvl1pPr>
            <a:lvl2pPr marL="518582" indent="-274107" defTabSz="914400">
              <a:lnSpc>
                <a:spcPct val="90000"/>
              </a:lnSpc>
              <a:defRPr sz="2800" b="1"/>
            </a:lvl2pPr>
            <a:lvl3pPr marL="774699" indent="-422274" defTabSz="914400">
              <a:lnSpc>
                <a:spcPct val="90000"/>
              </a:lnSpc>
              <a:defRPr sz="2800" b="1"/>
            </a:lvl3pPr>
            <a:lvl4pPr marL="897467" indent="-381530" defTabSz="914400">
              <a:lnSpc>
                <a:spcPct val="90000"/>
              </a:lnSpc>
              <a:defRPr sz="2800" b="1"/>
            </a:lvl4pPr>
            <a:lvl5pPr marL="1019175" indent="-355600" defTabSz="914400">
              <a:lnSpc>
                <a:spcPct val="90000"/>
              </a:lnSpc>
              <a:defRPr sz="2800" b="1"/>
            </a:lvl5pPr>
          </a:lstStyle>
          <a:p>
            <a:r>
              <a:t>Add title her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600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601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602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603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604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60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34984102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 yellow_3">
    <p:bg>
      <p:bgPr>
        <a:solidFill>
          <a:srgbClr val="FFCD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grpSp>
        <p:nvGrpSpPr>
          <p:cNvPr id="622" name="Group 1"/>
          <p:cNvGrpSpPr/>
          <p:nvPr/>
        </p:nvGrpSpPr>
        <p:grpSpPr>
          <a:xfrm>
            <a:off x="0" y="5310073"/>
            <a:ext cx="12192001" cy="1547931"/>
            <a:chOff x="0" y="0"/>
            <a:chExt cx="12192000" cy="1547929"/>
          </a:xfrm>
        </p:grpSpPr>
        <p:sp>
          <p:nvSpPr>
            <p:cNvPr id="613" name="Freeform: Shape 15"/>
            <p:cNvSpPr/>
            <p:nvPr/>
          </p:nvSpPr>
          <p:spPr>
            <a:xfrm>
              <a:off x="0" y="243519"/>
              <a:ext cx="12192001" cy="130441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11" y="620"/>
                  </a:lnTo>
                  <a:cubicBezTo>
                    <a:pt x="3305" y="6008"/>
                    <a:pt x="6915" y="9154"/>
                    <a:pt x="10800" y="9154"/>
                  </a:cubicBezTo>
                  <a:cubicBezTo>
                    <a:pt x="14685" y="9154"/>
                    <a:pt x="18295" y="6008"/>
                    <a:pt x="21289" y="620"/>
                  </a:cubicBez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CB0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grpSp>
          <p:nvGrpSpPr>
            <p:cNvPr id="621" name="Group 5"/>
            <p:cNvGrpSpPr/>
            <p:nvPr/>
          </p:nvGrpSpPr>
          <p:grpSpPr>
            <a:xfrm>
              <a:off x="10648107" y="-1"/>
              <a:ext cx="1150195" cy="1151376"/>
              <a:chOff x="0" y="0"/>
              <a:chExt cx="1150193" cy="1151374"/>
            </a:xfrm>
          </p:grpSpPr>
          <p:sp>
            <p:nvSpPr>
              <p:cNvPr id="614" name="Rectangle 20"/>
              <p:cNvSpPr/>
              <p:nvPr/>
            </p:nvSpPr>
            <p:spPr>
              <a:xfrm>
                <a:off x="-1" y="-1"/>
                <a:ext cx="1150195" cy="1151376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615" name="Rectangle 21"/>
              <p:cNvSpPr/>
              <p:nvPr/>
            </p:nvSpPr>
            <p:spPr>
              <a:xfrm>
                <a:off x="57863" y="57862"/>
                <a:ext cx="1034466" cy="1035649"/>
              </a:xfrm>
              <a:prstGeom prst="rect">
                <a:avLst/>
              </a:prstGeom>
              <a:solidFill>
                <a:srgbClr val="FECA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616" name="Oval 22"/>
              <p:cNvSpPr/>
              <p:nvPr/>
            </p:nvSpPr>
            <p:spPr>
              <a:xfrm>
                <a:off x="86205" y="374343"/>
                <a:ext cx="977783" cy="402689"/>
              </a:xfrm>
              <a:prstGeom prst="ellipse">
                <a:avLst/>
              </a:prstGeom>
              <a:solidFill>
                <a:srgbClr val="05689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617" name="Freeform 23"/>
              <p:cNvSpPr/>
              <p:nvPr/>
            </p:nvSpPr>
            <p:spPr>
              <a:xfrm>
                <a:off x="531402" y="474719"/>
                <a:ext cx="179498" cy="1582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037" y="6931"/>
                    </a:moveTo>
                    <a:lnTo>
                      <a:pt x="21600" y="0"/>
                    </a:lnTo>
                    <a:lnTo>
                      <a:pt x="1563" y="0"/>
                    </a:lnTo>
                    <a:lnTo>
                      <a:pt x="0" y="6931"/>
                    </a:lnTo>
                    <a:lnTo>
                      <a:pt x="6537" y="6931"/>
                    </a:lnTo>
                    <a:lnTo>
                      <a:pt x="3268" y="21600"/>
                    </a:lnTo>
                    <a:lnTo>
                      <a:pt x="10232" y="21600"/>
                    </a:lnTo>
                    <a:lnTo>
                      <a:pt x="13500" y="6931"/>
                    </a:lnTo>
                    <a:lnTo>
                      <a:pt x="20037" y="6931"/>
                    </a:lnTo>
                    <a:close/>
                  </a:path>
                </a:pathLst>
              </a:custGeom>
              <a:solidFill>
                <a:srgbClr val="FECA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618" name="Freeform 24"/>
              <p:cNvSpPr/>
              <p:nvPr/>
            </p:nvSpPr>
            <p:spPr>
              <a:xfrm>
                <a:off x="262158" y="474719"/>
                <a:ext cx="266885" cy="2007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4910" y="0"/>
                    </a:lnTo>
                    <a:lnTo>
                      <a:pt x="10609" y="12706"/>
                    </a:lnTo>
                    <a:lnTo>
                      <a:pt x="10609" y="0"/>
                    </a:lnTo>
                    <a:lnTo>
                      <a:pt x="4110" y="0"/>
                    </a:lnTo>
                    <a:lnTo>
                      <a:pt x="0" y="21600"/>
                    </a:lnTo>
                    <a:lnTo>
                      <a:pt x="4492" y="21600"/>
                    </a:lnTo>
                    <a:lnTo>
                      <a:pt x="7168" y="7751"/>
                    </a:lnTo>
                    <a:lnTo>
                      <a:pt x="7168" y="21600"/>
                    </a:lnTo>
                    <a:lnTo>
                      <a:pt x="10609" y="21600"/>
                    </a:lnTo>
                    <a:lnTo>
                      <a:pt x="15770" y="7751"/>
                    </a:lnTo>
                    <a:lnTo>
                      <a:pt x="13285" y="21600"/>
                    </a:lnTo>
                    <a:lnTo>
                      <a:pt x="1749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619" name="Freeform 25"/>
              <p:cNvSpPr/>
              <p:nvPr/>
            </p:nvSpPr>
            <p:spPr>
              <a:xfrm>
                <a:off x="674291" y="474719"/>
                <a:ext cx="213744" cy="2007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6230" y="0"/>
                    </a:lnTo>
                    <a:lnTo>
                      <a:pt x="13604" y="11562"/>
                    </a:lnTo>
                    <a:lnTo>
                      <a:pt x="10979" y="0"/>
                    </a:lnTo>
                    <a:lnTo>
                      <a:pt x="5131" y="0"/>
                    </a:lnTo>
                    <a:lnTo>
                      <a:pt x="0" y="21600"/>
                    </a:lnTo>
                    <a:lnTo>
                      <a:pt x="5370" y="21600"/>
                    </a:lnTo>
                    <a:lnTo>
                      <a:pt x="8234" y="9911"/>
                    </a:lnTo>
                    <a:lnTo>
                      <a:pt x="10979" y="21600"/>
                    </a:lnTo>
                    <a:lnTo>
                      <a:pt x="1658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620" name="Freeform 26"/>
              <p:cNvSpPr/>
              <p:nvPr/>
            </p:nvSpPr>
            <p:spPr>
              <a:xfrm>
                <a:off x="547935" y="647130"/>
                <a:ext cx="64952" cy="2834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56" y="0"/>
                    </a:moveTo>
                    <a:lnTo>
                      <a:pt x="0" y="21600"/>
                    </a:lnTo>
                    <a:lnTo>
                      <a:pt x="19244" y="21600"/>
                    </a:lnTo>
                    <a:lnTo>
                      <a:pt x="21600" y="0"/>
                    </a:lnTo>
                    <a:lnTo>
                      <a:pt x="2356" y="0"/>
                    </a:lnTo>
                    <a:close/>
                  </a:path>
                </a:pathLst>
              </a:custGeom>
              <a:solidFill>
                <a:srgbClr val="E5242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</p:grpSp>
      </p:grpSp>
      <p:sp>
        <p:nvSpPr>
          <p:cNvPr id="623" name="Rectangle 5"/>
          <p:cNvSpPr/>
          <p:nvPr/>
        </p:nvSpPr>
        <p:spPr>
          <a:xfrm>
            <a:off x="-2" y="0"/>
            <a:ext cx="12192003" cy="685800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1300">
                <a:solidFill>
                  <a:srgbClr val="FFCD05"/>
                </a:solidFill>
              </a:defRPr>
            </a:pPr>
            <a:endParaRPr/>
          </a:p>
        </p:txBody>
      </p:sp>
      <p:sp>
        <p:nvSpPr>
          <p:cNvPr id="624" name="Add 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239184" y="4223122"/>
            <a:ext cx="11713634" cy="3982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ctr">
              <a:defRPr sz="2800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Add presentation title</a:t>
            </a:r>
          </a:p>
        </p:txBody>
      </p:sp>
      <p:sp>
        <p:nvSpPr>
          <p:cNvPr id="625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39184" y="4739104"/>
            <a:ext cx="11713634" cy="277000"/>
          </a:xfrm>
          <a:prstGeom prst="rect">
            <a:avLst/>
          </a:prstGeom>
        </p:spPr>
        <p:txBody>
          <a:bodyPr/>
          <a:lstStyle>
            <a:lvl1pPr algn="ctr" defTabSz="914400">
              <a:defRPr sz="1800">
                <a:latin typeface="+mn-lt"/>
                <a:ea typeface="+mn-ea"/>
                <a:cs typeface="+mn-cs"/>
                <a:sym typeface="MTN Brighter Sans Bold"/>
              </a:defRPr>
            </a:lvl1pPr>
            <a:lvl2pPr marL="420687" indent="-176212" algn="ctr" defTabSz="914400">
              <a:defRPr sz="1800">
                <a:latin typeface="+mn-lt"/>
                <a:ea typeface="+mn-ea"/>
                <a:cs typeface="+mn-cs"/>
                <a:sym typeface="MTN Brighter Sans Bold"/>
              </a:defRPr>
            </a:lvl2pPr>
            <a:lvl3pPr marL="623887" indent="-271462" algn="ctr" defTabSz="914400">
              <a:defRPr sz="1800">
                <a:latin typeface="+mn-lt"/>
                <a:ea typeface="+mn-ea"/>
                <a:cs typeface="+mn-cs"/>
                <a:sym typeface="MTN Brighter Sans Bold"/>
              </a:defRPr>
            </a:lvl3pPr>
            <a:lvl4pPr marL="761206" indent="-245269" algn="ctr" defTabSz="914400">
              <a:defRPr sz="1800">
                <a:latin typeface="+mn-lt"/>
                <a:ea typeface="+mn-ea"/>
                <a:cs typeface="+mn-cs"/>
                <a:sym typeface="MTN Brighter Sans Bold"/>
              </a:defRPr>
            </a:lvl4pPr>
            <a:lvl5pPr marL="892175" indent="-228600" algn="ctr" defTabSz="914400">
              <a:defRPr sz="1800">
                <a:latin typeface="+mn-lt"/>
                <a:ea typeface="+mn-ea"/>
                <a:cs typeface="+mn-cs"/>
                <a:sym typeface="MTN Brighter Sans Bold"/>
              </a:defRPr>
            </a:lvl5pPr>
          </a:lstStyle>
          <a:p>
            <a:r>
              <a:t>Add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pic>
        <p:nvPicPr>
          <p:cNvPr id="626" name="Picture 12" descr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1895" y="2308863"/>
            <a:ext cx="5568205" cy="1601081"/>
          </a:xfrm>
          <a:prstGeom prst="rect">
            <a:avLst/>
          </a:prstGeom>
          <a:ln w="12700">
            <a:miter lim="400000"/>
          </a:ln>
        </p:spPr>
      </p:pic>
      <p:pic>
        <p:nvPicPr>
          <p:cNvPr id="627" name="Picture 7" descr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0651" y="6467519"/>
            <a:ext cx="1790701" cy="177801"/>
          </a:xfrm>
          <a:prstGeom prst="rect">
            <a:avLst/>
          </a:prstGeom>
          <a:ln w="12700">
            <a:miter lim="400000"/>
          </a:ln>
        </p:spPr>
      </p:pic>
      <p:pic>
        <p:nvPicPr>
          <p:cNvPr id="628" name="Picture 9" descr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9841" y="436693"/>
            <a:ext cx="1752318" cy="876161"/>
          </a:xfrm>
          <a:prstGeom prst="rect">
            <a:avLst/>
          </a:prstGeom>
          <a:ln w="12700">
            <a:miter lim="400000"/>
          </a:ln>
        </p:spPr>
      </p:pic>
      <p:sp>
        <p:nvSpPr>
          <p:cNvPr id="62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33426847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637" name="Title Text"/>
          <p:cNvSpPr txBox="1">
            <a:spLocks noGrp="1"/>
          </p:cNvSpPr>
          <p:nvPr>
            <p:ph type="title"/>
          </p:nvPr>
        </p:nvSpPr>
        <p:spPr>
          <a:xfrm>
            <a:off x="609600" y="274636"/>
            <a:ext cx="10972800" cy="11430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  <p:sp>
        <p:nvSpPr>
          <p:cNvPr id="638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639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640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641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642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64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0451" y="6590225"/>
            <a:ext cx="431550" cy="275201"/>
          </a:xfrm>
          <a:prstGeom prst="rect">
            <a:avLst/>
          </a:prstGeom>
        </p:spPr>
        <p:txBody>
          <a:bodyPr lIns="36000" tIns="36000" rIns="36000" bIns="36000"/>
          <a:lstStyle>
            <a:lvl1pPr algn="l" defTabSz="457200">
              <a:defRPr sz="1200" b="0">
                <a:solidFill>
                  <a:srgbClr val="231F20"/>
                </a:solidFill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91721980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ab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82CC0E3-C737-461B-B4F5-DD460CE8E8EB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237051" y="2259917"/>
            <a:ext cx="5662101" cy="37957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tab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D744A32-961D-4C16-A06B-7BF0BC1954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2853" y="2259917"/>
            <a:ext cx="5659963" cy="37957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22CAD99F-55C8-3543-B76D-B9B3EB65AEFE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A360388-AEDE-8F45-8733-AF003CEB4E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B3790B2-1825-134B-852F-13AD103997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4" name="Section name here">
            <a:extLst>
              <a:ext uri="{FF2B5EF4-FFF2-40B4-BE49-F238E27FC236}">
                <a16:creationId xmlns:a16="http://schemas.microsoft.com/office/drawing/2014/main" id="{214C28B8-C1EE-714C-93D2-E69A46389C5D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5" name="Section name here">
            <a:extLst>
              <a:ext uri="{FF2B5EF4-FFF2-40B4-BE49-F238E27FC236}">
                <a16:creationId xmlns:a16="http://schemas.microsoft.com/office/drawing/2014/main" id="{F5EB58E1-4515-5F4F-98D6-A9CE1117F462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3850731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Yel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60451" y="6628324"/>
            <a:ext cx="431550" cy="199001"/>
          </a:xfrm>
          <a:prstGeom prst="rect">
            <a:avLst/>
          </a:prstGeom>
        </p:spPr>
        <p:txBody>
          <a:bodyPr lIns="36000" tIns="36000" rIns="36000" bIns="36000"/>
          <a:lstStyle>
            <a:lvl1pPr algn="r">
              <a:defRPr sz="800">
                <a:solidFill>
                  <a:srgbClr val="FFCD05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2615300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5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grpSp>
        <p:nvGrpSpPr>
          <p:cNvPr id="745" name="Group 1"/>
          <p:cNvGrpSpPr/>
          <p:nvPr/>
        </p:nvGrpSpPr>
        <p:grpSpPr>
          <a:xfrm>
            <a:off x="0" y="5310073"/>
            <a:ext cx="12192001" cy="1547931"/>
            <a:chOff x="0" y="0"/>
            <a:chExt cx="12192000" cy="1547929"/>
          </a:xfrm>
        </p:grpSpPr>
        <p:sp>
          <p:nvSpPr>
            <p:cNvPr id="736" name="Freeform: Shape 15"/>
            <p:cNvSpPr/>
            <p:nvPr/>
          </p:nvSpPr>
          <p:spPr>
            <a:xfrm>
              <a:off x="0" y="243519"/>
              <a:ext cx="12192001" cy="130441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11" y="620"/>
                  </a:lnTo>
                  <a:cubicBezTo>
                    <a:pt x="3305" y="6008"/>
                    <a:pt x="6915" y="9154"/>
                    <a:pt x="10800" y="9154"/>
                  </a:cubicBezTo>
                  <a:cubicBezTo>
                    <a:pt x="14685" y="9154"/>
                    <a:pt x="18295" y="6008"/>
                    <a:pt x="21289" y="620"/>
                  </a:cubicBez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CB0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grpSp>
          <p:nvGrpSpPr>
            <p:cNvPr id="744" name="Group 5"/>
            <p:cNvGrpSpPr/>
            <p:nvPr/>
          </p:nvGrpSpPr>
          <p:grpSpPr>
            <a:xfrm>
              <a:off x="10648107" y="-1"/>
              <a:ext cx="1150195" cy="1151376"/>
              <a:chOff x="0" y="0"/>
              <a:chExt cx="1150193" cy="1151374"/>
            </a:xfrm>
          </p:grpSpPr>
          <p:sp>
            <p:nvSpPr>
              <p:cNvPr id="737" name="Rectangle 20"/>
              <p:cNvSpPr/>
              <p:nvPr/>
            </p:nvSpPr>
            <p:spPr>
              <a:xfrm>
                <a:off x="-1" y="-1"/>
                <a:ext cx="1150195" cy="1151376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738" name="Rectangle 21"/>
              <p:cNvSpPr/>
              <p:nvPr/>
            </p:nvSpPr>
            <p:spPr>
              <a:xfrm>
                <a:off x="57863" y="57862"/>
                <a:ext cx="1034466" cy="1035649"/>
              </a:xfrm>
              <a:prstGeom prst="rect">
                <a:avLst/>
              </a:prstGeom>
              <a:solidFill>
                <a:srgbClr val="FECA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739" name="Oval 22"/>
              <p:cNvSpPr/>
              <p:nvPr/>
            </p:nvSpPr>
            <p:spPr>
              <a:xfrm>
                <a:off x="86205" y="374343"/>
                <a:ext cx="977783" cy="402689"/>
              </a:xfrm>
              <a:prstGeom prst="ellipse">
                <a:avLst/>
              </a:prstGeom>
              <a:solidFill>
                <a:srgbClr val="05689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740" name="Freeform 23"/>
              <p:cNvSpPr/>
              <p:nvPr/>
            </p:nvSpPr>
            <p:spPr>
              <a:xfrm>
                <a:off x="531402" y="474719"/>
                <a:ext cx="179498" cy="1582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037" y="6931"/>
                    </a:moveTo>
                    <a:lnTo>
                      <a:pt x="21600" y="0"/>
                    </a:lnTo>
                    <a:lnTo>
                      <a:pt x="1563" y="0"/>
                    </a:lnTo>
                    <a:lnTo>
                      <a:pt x="0" y="6931"/>
                    </a:lnTo>
                    <a:lnTo>
                      <a:pt x="6537" y="6931"/>
                    </a:lnTo>
                    <a:lnTo>
                      <a:pt x="3268" y="21600"/>
                    </a:lnTo>
                    <a:lnTo>
                      <a:pt x="10232" y="21600"/>
                    </a:lnTo>
                    <a:lnTo>
                      <a:pt x="13500" y="6931"/>
                    </a:lnTo>
                    <a:lnTo>
                      <a:pt x="20037" y="6931"/>
                    </a:lnTo>
                    <a:close/>
                  </a:path>
                </a:pathLst>
              </a:custGeom>
              <a:solidFill>
                <a:srgbClr val="FECA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741" name="Freeform 24"/>
              <p:cNvSpPr/>
              <p:nvPr/>
            </p:nvSpPr>
            <p:spPr>
              <a:xfrm>
                <a:off x="262158" y="474719"/>
                <a:ext cx="266885" cy="2007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4910" y="0"/>
                    </a:lnTo>
                    <a:lnTo>
                      <a:pt x="10609" y="12706"/>
                    </a:lnTo>
                    <a:lnTo>
                      <a:pt x="10609" y="0"/>
                    </a:lnTo>
                    <a:lnTo>
                      <a:pt x="4110" y="0"/>
                    </a:lnTo>
                    <a:lnTo>
                      <a:pt x="0" y="21600"/>
                    </a:lnTo>
                    <a:lnTo>
                      <a:pt x="4492" y="21600"/>
                    </a:lnTo>
                    <a:lnTo>
                      <a:pt x="7168" y="7751"/>
                    </a:lnTo>
                    <a:lnTo>
                      <a:pt x="7168" y="21600"/>
                    </a:lnTo>
                    <a:lnTo>
                      <a:pt x="10609" y="21600"/>
                    </a:lnTo>
                    <a:lnTo>
                      <a:pt x="15770" y="7751"/>
                    </a:lnTo>
                    <a:lnTo>
                      <a:pt x="13285" y="21600"/>
                    </a:lnTo>
                    <a:lnTo>
                      <a:pt x="1749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742" name="Freeform 25"/>
              <p:cNvSpPr/>
              <p:nvPr/>
            </p:nvSpPr>
            <p:spPr>
              <a:xfrm>
                <a:off x="674291" y="474719"/>
                <a:ext cx="213744" cy="2007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6230" y="0"/>
                    </a:lnTo>
                    <a:lnTo>
                      <a:pt x="13604" y="11562"/>
                    </a:lnTo>
                    <a:lnTo>
                      <a:pt x="10979" y="0"/>
                    </a:lnTo>
                    <a:lnTo>
                      <a:pt x="5131" y="0"/>
                    </a:lnTo>
                    <a:lnTo>
                      <a:pt x="0" y="21600"/>
                    </a:lnTo>
                    <a:lnTo>
                      <a:pt x="5370" y="21600"/>
                    </a:lnTo>
                    <a:lnTo>
                      <a:pt x="8234" y="9911"/>
                    </a:lnTo>
                    <a:lnTo>
                      <a:pt x="10979" y="21600"/>
                    </a:lnTo>
                    <a:lnTo>
                      <a:pt x="1658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743" name="Freeform 26"/>
              <p:cNvSpPr/>
              <p:nvPr/>
            </p:nvSpPr>
            <p:spPr>
              <a:xfrm>
                <a:off x="547935" y="647130"/>
                <a:ext cx="64952" cy="2834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56" y="0"/>
                    </a:moveTo>
                    <a:lnTo>
                      <a:pt x="0" y="21600"/>
                    </a:lnTo>
                    <a:lnTo>
                      <a:pt x="19244" y="21600"/>
                    </a:lnTo>
                    <a:lnTo>
                      <a:pt x="21600" y="0"/>
                    </a:lnTo>
                    <a:lnTo>
                      <a:pt x="2356" y="0"/>
                    </a:lnTo>
                    <a:close/>
                  </a:path>
                </a:pathLst>
              </a:custGeom>
              <a:solidFill>
                <a:srgbClr val="E5242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</p:grpSp>
      </p:grpSp>
      <p:sp>
        <p:nvSpPr>
          <p:cNvPr id="746" name="Rectangle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CD05"/>
                </a:solidFill>
              </a:defRPr>
            </a:pPr>
            <a:endParaRPr/>
          </a:p>
        </p:txBody>
      </p:sp>
      <p:sp>
        <p:nvSpPr>
          <p:cNvPr id="747" name="Title Text"/>
          <p:cNvSpPr txBox="1">
            <a:spLocks noGrp="1"/>
          </p:cNvSpPr>
          <p:nvPr>
            <p:ph type="title"/>
          </p:nvPr>
        </p:nvSpPr>
        <p:spPr>
          <a:xfrm>
            <a:off x="342900" y="3139925"/>
            <a:ext cx="10515600" cy="57815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solidFill>
                  <a:srgbClr val="FFCD05"/>
                </a:solidFill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Title Text</a:t>
            </a:r>
          </a:p>
        </p:txBody>
      </p:sp>
      <p:grpSp>
        <p:nvGrpSpPr>
          <p:cNvPr id="750" name="Rectangle 3"/>
          <p:cNvGrpSpPr/>
          <p:nvPr/>
        </p:nvGrpSpPr>
        <p:grpSpPr>
          <a:xfrm>
            <a:off x="10499272" y="333007"/>
            <a:ext cx="1282701" cy="294641"/>
            <a:chOff x="0" y="0"/>
            <a:chExt cx="1282700" cy="294640"/>
          </a:xfrm>
        </p:grpSpPr>
        <p:sp>
          <p:nvSpPr>
            <p:cNvPr id="748" name="Rectangle"/>
            <p:cNvSpPr/>
            <p:nvPr/>
          </p:nvSpPr>
          <p:spPr>
            <a:xfrm>
              <a:off x="0" y="18047"/>
              <a:ext cx="1282700" cy="258546"/>
            </a:xfrm>
            <a:prstGeom prst="rect">
              <a:avLst/>
            </a:prstGeom>
            <a:solidFill>
              <a:srgbClr val="000000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 sz="1200">
                  <a:solidFill>
                    <a:schemeClr val="accent1"/>
                  </a:solidFill>
                  <a:latin typeface="MTN Brighter Sans ExtraBold"/>
                  <a:ea typeface="MTN Brighter Sans ExtraBold"/>
                  <a:cs typeface="MTN Brighter Sans ExtraBold"/>
                  <a:sym typeface="MTN Brighter Sans ExtraBold"/>
                </a:defRPr>
              </a:pPr>
              <a:endParaRPr/>
            </a:p>
          </p:txBody>
        </p:sp>
        <p:sp>
          <p:nvSpPr>
            <p:cNvPr id="749" name="MTN Business"/>
            <p:cNvSpPr txBox="1"/>
            <p:nvPr/>
          </p:nvSpPr>
          <p:spPr>
            <a:xfrm>
              <a:off x="45719" y="-1"/>
              <a:ext cx="1191262" cy="29464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="http://schemas.openxmlformats.org/officeDocument/2006/math" xmlns:a14="http://schemas.microsoft.com/office/drawing/2010/main"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ctr">
              <a:spAutoFit/>
            </a:bodyPr>
            <a:lstStyle>
              <a:lvl1pPr algn="ctr">
                <a:defRPr sz="1200">
                  <a:solidFill>
                    <a:schemeClr val="accent1"/>
                  </a:solidFill>
                  <a:latin typeface="MTN Brighter Sans ExtraBold"/>
                  <a:ea typeface="MTN Brighter Sans ExtraBold"/>
                  <a:cs typeface="MTN Brighter Sans ExtraBold"/>
                  <a:sym typeface="MTN Brighter Sans ExtraBold"/>
                </a:defRPr>
              </a:lvl1pPr>
            </a:lstStyle>
            <a:p>
              <a:r>
                <a:t>MTN Business</a:t>
              </a:r>
            </a:p>
          </p:txBody>
        </p:sp>
      </p:grpSp>
      <p:sp>
        <p:nvSpPr>
          <p:cNvPr id="75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8722836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0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771" name="Title Text"/>
          <p:cNvSpPr txBox="1">
            <a:spLocks noGrp="1"/>
          </p:cNvSpPr>
          <p:nvPr>
            <p:ph type="title"/>
          </p:nvPr>
        </p:nvSpPr>
        <p:spPr>
          <a:xfrm>
            <a:off x="609600" y="274636"/>
            <a:ext cx="10972800" cy="114300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  <p:sp>
        <p:nvSpPr>
          <p:cNvPr id="772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773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774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775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776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77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5635967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tatement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" name="Rectangle 3"/>
          <p:cNvSpPr/>
          <p:nvPr/>
        </p:nvSpPr>
        <p:spPr>
          <a:xfrm>
            <a:off x="-4" y="6273800"/>
            <a:ext cx="12192007" cy="584200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785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5820395" y="6484496"/>
            <a:ext cx="5503353" cy="170689"/>
          </a:xfrm>
          <a:prstGeom prst="rect">
            <a:avLst/>
          </a:prstGeom>
        </p:spPr>
        <p:txBody>
          <a:bodyPr/>
          <a:lstStyle>
            <a:lvl1pPr algn="r" defTabSz="914400">
              <a:lnSpc>
                <a:spcPct val="90000"/>
              </a:lnSpc>
              <a:defRPr b="1">
                <a:latin typeface="+mn-lt"/>
                <a:ea typeface="+mn-ea"/>
                <a:cs typeface="+mn-cs"/>
                <a:sym typeface="MTN Brighter Sans Bold"/>
              </a:defRPr>
            </a:lvl1pPr>
            <a:lvl2pPr algn="r" defTabSz="914400">
              <a:lnSpc>
                <a:spcPct val="90000"/>
              </a:lnSpc>
              <a:defRPr b="1">
                <a:latin typeface="+mn-lt"/>
                <a:ea typeface="+mn-ea"/>
                <a:cs typeface="+mn-cs"/>
                <a:sym typeface="MTN Brighter Sans Bold"/>
              </a:defRPr>
            </a:lvl2pPr>
            <a:lvl3pPr algn="r" defTabSz="914400">
              <a:lnSpc>
                <a:spcPct val="90000"/>
              </a:lnSpc>
              <a:defRPr b="1">
                <a:latin typeface="+mn-lt"/>
                <a:ea typeface="+mn-ea"/>
                <a:cs typeface="+mn-cs"/>
                <a:sym typeface="MTN Brighter Sans Bold"/>
              </a:defRPr>
            </a:lvl3pPr>
            <a:lvl4pPr algn="r" defTabSz="914400">
              <a:lnSpc>
                <a:spcPct val="90000"/>
              </a:lnSpc>
              <a:defRPr b="1">
                <a:latin typeface="+mn-lt"/>
                <a:ea typeface="+mn-ea"/>
                <a:cs typeface="+mn-cs"/>
                <a:sym typeface="MTN Brighter Sans Bold"/>
              </a:defRPr>
            </a:lvl4pPr>
            <a:lvl5pPr algn="r" defTabSz="914400">
              <a:lnSpc>
                <a:spcPct val="90000"/>
              </a:lnSpc>
              <a:defRPr b="1">
                <a:latin typeface="+mn-lt"/>
                <a:ea typeface="+mn-ea"/>
                <a:cs typeface="+mn-cs"/>
                <a:sym typeface="MTN Brighter Sans Bold"/>
              </a:defRPr>
            </a:lvl5pPr>
          </a:lstStyle>
          <a:p>
            <a:r>
              <a:t>Click to add presentation 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786" name="Text Placeholder 20"/>
          <p:cNvSpPr>
            <a:spLocks noGrp="1"/>
          </p:cNvSpPr>
          <p:nvPr>
            <p:ph type="body" idx="21" hasCustomPrompt="1"/>
          </p:nvPr>
        </p:nvSpPr>
        <p:spPr>
          <a:xfrm>
            <a:off x="587376" y="0"/>
            <a:ext cx="11017251" cy="6273800"/>
          </a:xfrm>
          <a:prstGeom prst="rect">
            <a:avLst/>
          </a:prstGeom>
        </p:spPr>
        <p:txBody>
          <a:bodyPr anchor="ctr"/>
          <a:lstStyle>
            <a:lvl1pPr algn="ctr" defTabSz="914400">
              <a:lnSpc>
                <a:spcPct val="90000"/>
              </a:lnSpc>
              <a:defRPr sz="2400" b="1" i="1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Click to add copy</a:t>
            </a:r>
          </a:p>
        </p:txBody>
      </p:sp>
      <p:sp>
        <p:nvSpPr>
          <p:cNvPr id="787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0" y="6273800"/>
            <a:ext cx="869882" cy="58420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defTabSz="914400">
              <a:defRPr sz="2500" b="1" i="1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 </a:t>
            </a:r>
          </a:p>
        </p:txBody>
      </p:sp>
      <p:sp>
        <p:nvSpPr>
          <p:cNvPr id="78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04624" y="6468240"/>
            <a:ext cx="198629" cy="203201"/>
          </a:xfrm>
          <a:prstGeom prst="rect">
            <a:avLst/>
          </a:prstGeom>
          <a:noFill/>
        </p:spPr>
        <p:txBody>
          <a:bodyPr wrap="none"/>
          <a:lstStyle>
            <a:lvl1pPr algn="l">
              <a:lnSpc>
                <a:spcPct val="90000"/>
              </a:lnSpc>
              <a:defRPr sz="1200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1966135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oolkit master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6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817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818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819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820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821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82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06200" y="438368"/>
            <a:ext cx="171958" cy="165101"/>
          </a:xfrm>
          <a:prstGeom prst="rect">
            <a:avLst/>
          </a:prstGeom>
          <a:noFill/>
        </p:spPr>
        <p:txBody>
          <a:bodyPr wrap="none" lIns="25400" tIns="25400" rIns="25400" bIns="25400" anchor="b"/>
          <a:lstStyle>
            <a:lvl1pPr algn="l" defTabSz="412750">
              <a:defRPr sz="700" b="0" i="1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7367191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EMP YELLOW">
    <p:bg>
      <p:bgPr>
        <a:solidFill>
          <a:srgbClr val="F6CB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" name="_ TBWA\"/>
          <p:cNvSpPr txBox="1"/>
          <p:nvPr/>
        </p:nvSpPr>
        <p:spPr>
          <a:xfrm rot="16200000">
            <a:off x="-41964" y="6260048"/>
            <a:ext cx="677804" cy="177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12750">
              <a:defRPr sz="800" cap="all" spc="24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_ TBWA\</a:t>
            </a:r>
          </a:p>
        </p:txBody>
      </p:sp>
      <p:sp>
        <p:nvSpPr>
          <p:cNvPr id="830" name="Shape"/>
          <p:cNvSpPr/>
          <p:nvPr/>
        </p:nvSpPr>
        <p:spPr>
          <a:xfrm>
            <a:off x="249313" y="217725"/>
            <a:ext cx="95251" cy="1426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2"/>
                </a:moveTo>
                <a:lnTo>
                  <a:pt x="12835" y="21600"/>
                </a:lnTo>
                <a:lnTo>
                  <a:pt x="21600" y="21600"/>
                </a:lnTo>
                <a:lnTo>
                  <a:pt x="8889" y="0"/>
                </a:lnTo>
                <a:lnTo>
                  <a:pt x="0" y="32"/>
                </a:lnTo>
                <a:close/>
              </a:path>
            </a:pathLst>
          </a:cu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831" name="Proprietary &amp; Confidential — External Communications"/>
          <p:cNvSpPr txBox="1"/>
          <p:nvPr/>
        </p:nvSpPr>
        <p:spPr>
          <a:xfrm rot="16200000">
            <a:off x="10915263" y="4109082"/>
            <a:ext cx="1960808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defTabSz="412750">
              <a:lnSpc>
                <a:spcPct val="80000"/>
              </a:lnSpc>
              <a:defRPr sz="600" spc="-6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Proprietary &amp; Confidential — External Communications</a:t>
            </a:r>
          </a:p>
        </p:txBody>
      </p:sp>
      <p:sp>
        <p:nvSpPr>
          <p:cNvPr id="832" name="©2019 TBWA\South Africa"/>
          <p:cNvSpPr txBox="1"/>
          <p:nvPr/>
        </p:nvSpPr>
        <p:spPr>
          <a:xfrm rot="16200000">
            <a:off x="11444763" y="6071427"/>
            <a:ext cx="901808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defTabSz="412750">
              <a:lnSpc>
                <a:spcPct val="80000"/>
              </a:lnSpc>
              <a:defRPr sz="600" spc="-6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©2019 TBWA\South Africa</a:t>
            </a:r>
          </a:p>
        </p:txBody>
      </p:sp>
      <p:sp>
        <p:nvSpPr>
          <p:cNvPr id="83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92825" y="6489043"/>
            <a:ext cx="146734" cy="139701"/>
          </a:xfrm>
          <a:prstGeom prst="rect">
            <a:avLst/>
          </a:prstGeom>
          <a:noFill/>
        </p:spPr>
        <p:txBody>
          <a:bodyPr wrap="none" lIns="25400" tIns="25400" rIns="25400" bIns="25400" anchor="t"/>
          <a:lstStyle>
            <a:lvl1pPr algn="l" defTabSz="412750">
              <a:lnSpc>
                <a:spcPct val="80000"/>
              </a:lnSpc>
              <a:defRPr sz="600" spc="-6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2830601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EMP BLACK copy 1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1" name="Shape"/>
          <p:cNvSpPr/>
          <p:nvPr/>
        </p:nvSpPr>
        <p:spPr>
          <a:xfrm>
            <a:off x="249313" y="6546397"/>
            <a:ext cx="95251" cy="14262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2"/>
                </a:moveTo>
                <a:lnTo>
                  <a:pt x="12835" y="21600"/>
                </a:lnTo>
                <a:lnTo>
                  <a:pt x="21600" y="21600"/>
                </a:lnTo>
                <a:lnTo>
                  <a:pt x="8889" y="0"/>
                </a:lnTo>
                <a:lnTo>
                  <a:pt x="0" y="32"/>
                </a:lnTo>
                <a:close/>
              </a:path>
            </a:pathLst>
          </a:cu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852" name="©2019 TBWA\South Africa"/>
          <p:cNvSpPr txBox="1"/>
          <p:nvPr/>
        </p:nvSpPr>
        <p:spPr>
          <a:xfrm rot="16200000">
            <a:off x="11444762" y="6071427"/>
            <a:ext cx="901808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defTabSz="412750">
              <a:lnSpc>
                <a:spcPct val="80000"/>
              </a:lnSpc>
              <a:defRPr sz="600" spc="-6">
                <a:solidFill>
                  <a:srgbClr val="FFFFFF"/>
                </a:solidFill>
                <a:latin typeface="Averta for TBWA Regular"/>
                <a:ea typeface="Averta for TBWA Regular"/>
                <a:cs typeface="Averta for TBWA Regular"/>
                <a:sym typeface="Averta for TBWA Regular"/>
              </a:defRPr>
            </a:lvl1pPr>
          </a:lstStyle>
          <a:p>
            <a:r>
              <a:t>©2019 TBWA\South Africa</a:t>
            </a:r>
          </a:p>
        </p:txBody>
      </p:sp>
      <p:sp>
        <p:nvSpPr>
          <p:cNvPr id="853" name="©2019 TBWA\South Africa"/>
          <p:cNvSpPr txBox="1"/>
          <p:nvPr/>
        </p:nvSpPr>
        <p:spPr>
          <a:xfrm rot="16200000">
            <a:off x="11444762" y="6071427"/>
            <a:ext cx="901808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defTabSz="412750">
              <a:lnSpc>
                <a:spcPct val="80000"/>
              </a:lnSpc>
              <a:defRPr sz="600" spc="-6">
                <a:solidFill>
                  <a:srgbClr val="FFFFFF"/>
                </a:solidFill>
                <a:latin typeface="Averta for TBWA Regular"/>
                <a:ea typeface="Averta for TBWA Regular"/>
                <a:cs typeface="Averta for TBWA Regular"/>
                <a:sym typeface="Averta for TBWA Regular"/>
              </a:defRPr>
            </a:lvl1pPr>
          </a:lstStyle>
          <a:p>
            <a:r>
              <a:t>©2019 TBWA\South Africa</a:t>
            </a:r>
          </a:p>
        </p:txBody>
      </p:sp>
      <p:sp>
        <p:nvSpPr>
          <p:cNvPr id="854" name="Proprietary &amp; Confidential — External Communications"/>
          <p:cNvSpPr txBox="1"/>
          <p:nvPr/>
        </p:nvSpPr>
        <p:spPr>
          <a:xfrm rot="16200000">
            <a:off x="10915263" y="1376874"/>
            <a:ext cx="1960808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defTabSz="412750">
              <a:lnSpc>
                <a:spcPct val="80000"/>
              </a:lnSpc>
              <a:defRPr sz="600" spc="-6">
                <a:solidFill>
                  <a:srgbClr val="FFFFFF"/>
                </a:solidFill>
                <a:latin typeface="Averta for TBWA Regular"/>
                <a:ea typeface="Averta for TBWA Regular"/>
                <a:cs typeface="Averta for TBWA Regular"/>
                <a:sym typeface="Averta for TBWA Regular"/>
              </a:defRPr>
            </a:lvl1pPr>
          </a:lstStyle>
          <a:p>
            <a:r>
              <a:t>Proprietary &amp; Confidential — External Communications</a:t>
            </a:r>
          </a:p>
        </p:txBody>
      </p:sp>
      <p:sp>
        <p:nvSpPr>
          <p:cNvPr id="855" name="_ TBWA\"/>
          <p:cNvSpPr txBox="1"/>
          <p:nvPr/>
        </p:nvSpPr>
        <p:spPr>
          <a:xfrm rot="16200000">
            <a:off x="34824" y="6134662"/>
            <a:ext cx="524228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12750">
              <a:defRPr sz="600" cap="all" spc="180">
                <a:solidFill>
                  <a:srgbClr val="FFFFFF"/>
                </a:solidFill>
                <a:latin typeface="Averta for TBWA Regular"/>
                <a:ea typeface="Averta for TBWA Regular"/>
                <a:cs typeface="Averta for TBWA Regular"/>
                <a:sym typeface="Averta for TBWA Regular"/>
              </a:defRPr>
            </a:lvl1pPr>
          </a:lstStyle>
          <a:p>
            <a:r>
              <a:t>_ TBWA\</a:t>
            </a:r>
          </a:p>
        </p:txBody>
      </p:sp>
      <p:sp>
        <p:nvSpPr>
          <p:cNvPr id="856" name="MTN 2020 SUMMER BRIEF"/>
          <p:cNvSpPr txBox="1"/>
          <p:nvPr/>
        </p:nvSpPr>
        <p:spPr>
          <a:xfrm rot="16200000">
            <a:off x="-215379" y="737166"/>
            <a:ext cx="1024634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r" defTabSz="412750">
              <a:defRPr sz="600" cap="all">
                <a:solidFill>
                  <a:srgbClr val="FFFFFF"/>
                </a:solidFill>
                <a:latin typeface="Averta for TBWA Regular"/>
                <a:ea typeface="Averta for TBWA Regular"/>
                <a:cs typeface="Averta for TBWA Regular"/>
                <a:sym typeface="Averta for TBWA Regular"/>
              </a:defRPr>
            </a:lvl1pPr>
          </a:lstStyle>
          <a:p>
            <a:r>
              <a:t>MTN 2020 SUMMER BRIEF</a:t>
            </a:r>
          </a:p>
        </p:txBody>
      </p:sp>
      <p:grpSp>
        <p:nvGrpSpPr>
          <p:cNvPr id="859" name="Group"/>
          <p:cNvGrpSpPr/>
          <p:nvPr/>
        </p:nvGrpSpPr>
        <p:grpSpPr>
          <a:xfrm>
            <a:off x="11782744" y="176868"/>
            <a:ext cx="225846" cy="224341"/>
            <a:chOff x="0" y="0"/>
            <a:chExt cx="225845" cy="224340"/>
          </a:xfrm>
        </p:grpSpPr>
        <p:sp>
          <p:nvSpPr>
            <p:cNvPr id="857" name="Rectangle"/>
            <p:cNvSpPr/>
            <p:nvPr/>
          </p:nvSpPr>
          <p:spPr>
            <a:xfrm>
              <a:off x="0" y="-1"/>
              <a:ext cx="225846" cy="224342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algn="ctr" defTabSz="292100">
                <a:defRPr sz="2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  <p:pic>
          <p:nvPicPr>
            <p:cNvPr id="858" name="droppedImage.pdf" descr="droppedImage.pdf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67" y="7374"/>
              <a:ext cx="209286" cy="20928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86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6340" y="6540500"/>
            <a:ext cx="232970" cy="236880"/>
          </a:xfrm>
          <a:prstGeom prst="rect">
            <a:avLst/>
          </a:prstGeom>
          <a:noFill/>
        </p:spPr>
        <p:txBody>
          <a:bodyPr wrap="none" lIns="25400" tIns="25400" rIns="25400" bIns="25400" anchor="t"/>
          <a:lstStyle>
            <a:lvl1pPr defTabSz="412750">
              <a:defRPr sz="1200" b="0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1964621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EMP YELLOW">
    <p:bg>
      <p:bgPr>
        <a:solidFill>
          <a:srgbClr val="F6CB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7" name="_ TBWA\"/>
          <p:cNvSpPr txBox="1"/>
          <p:nvPr/>
        </p:nvSpPr>
        <p:spPr>
          <a:xfrm rot="16200000">
            <a:off x="-41964" y="6260048"/>
            <a:ext cx="677804" cy="177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12750">
              <a:defRPr sz="800" cap="all" spc="24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_ TBWA\</a:t>
            </a:r>
          </a:p>
        </p:txBody>
      </p:sp>
      <p:sp>
        <p:nvSpPr>
          <p:cNvPr id="868" name="Shape"/>
          <p:cNvSpPr/>
          <p:nvPr/>
        </p:nvSpPr>
        <p:spPr>
          <a:xfrm>
            <a:off x="249313" y="217725"/>
            <a:ext cx="95251" cy="14262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2"/>
                </a:moveTo>
                <a:lnTo>
                  <a:pt x="12835" y="21600"/>
                </a:lnTo>
                <a:lnTo>
                  <a:pt x="21600" y="21600"/>
                </a:lnTo>
                <a:lnTo>
                  <a:pt x="8889" y="0"/>
                </a:lnTo>
                <a:lnTo>
                  <a:pt x="0" y="32"/>
                </a:lnTo>
                <a:close/>
              </a:path>
            </a:pathLst>
          </a:cu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869" name="Proprietary &amp; Confidential — External Communications"/>
          <p:cNvSpPr txBox="1"/>
          <p:nvPr/>
        </p:nvSpPr>
        <p:spPr>
          <a:xfrm rot="16200000">
            <a:off x="10915263" y="4109082"/>
            <a:ext cx="1960808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defTabSz="412750">
              <a:lnSpc>
                <a:spcPct val="80000"/>
              </a:lnSpc>
              <a:defRPr sz="600" spc="-6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Proprietary &amp; Confidential — External Communications</a:t>
            </a:r>
          </a:p>
        </p:txBody>
      </p:sp>
      <p:sp>
        <p:nvSpPr>
          <p:cNvPr id="870" name="©2019 TBWA\South Africa"/>
          <p:cNvSpPr txBox="1"/>
          <p:nvPr/>
        </p:nvSpPr>
        <p:spPr>
          <a:xfrm rot="16200000">
            <a:off x="11444763" y="6071427"/>
            <a:ext cx="901808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defTabSz="412750">
              <a:lnSpc>
                <a:spcPct val="80000"/>
              </a:lnSpc>
              <a:defRPr sz="600" spc="-6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©2019 TBWA\South Africa</a:t>
            </a:r>
          </a:p>
        </p:txBody>
      </p:sp>
      <p:sp>
        <p:nvSpPr>
          <p:cNvPr id="87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092825" y="6489043"/>
            <a:ext cx="146734" cy="139701"/>
          </a:xfrm>
          <a:prstGeom prst="rect">
            <a:avLst/>
          </a:prstGeom>
          <a:noFill/>
        </p:spPr>
        <p:txBody>
          <a:bodyPr wrap="none" lIns="25400" tIns="25400" rIns="25400" bIns="25400" anchor="t"/>
          <a:lstStyle>
            <a:lvl1pPr algn="l" defTabSz="412750">
              <a:lnSpc>
                <a:spcPct val="80000"/>
              </a:lnSpc>
              <a:defRPr sz="600" spc="-6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4084311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ntent_Opt1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1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892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893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894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895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896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89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25334" y="406583"/>
            <a:ext cx="229617" cy="241301"/>
          </a:xfrm>
          <a:prstGeom prst="rect">
            <a:avLst/>
          </a:prstGeom>
          <a:noFill/>
        </p:spPr>
        <p:txBody>
          <a:bodyPr wrap="none"/>
          <a:lstStyle>
            <a:lvl1pPr algn="r" defTabSz="825500">
              <a:defRPr sz="1400" b="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6178532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4" name="Title Text"/>
          <p:cNvSpPr txBox="1">
            <a:spLocks noGrp="1"/>
          </p:cNvSpPr>
          <p:nvPr>
            <p:ph type="title"/>
          </p:nvPr>
        </p:nvSpPr>
        <p:spPr>
          <a:xfrm>
            <a:off x="188349" y="308318"/>
            <a:ext cx="11698852" cy="716582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>
              <a:defRPr sz="1800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Title Text</a:t>
            </a:r>
          </a:p>
        </p:txBody>
      </p:sp>
      <p:sp>
        <p:nvSpPr>
          <p:cNvPr id="91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  <a:noFill/>
        </p:spPr>
        <p:txBody>
          <a:bodyPr wrap="none" lIns="45719" tIns="45719" rIns="45719" bIns="45719"/>
          <a:lstStyle>
            <a:lvl1pPr algn="r">
              <a:defRPr sz="1200" b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88008973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 graph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39184" y="2259916"/>
            <a:ext cx="5659968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5C597E66-14C3-4694-B0FA-38C1DD74FC10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292853" y="2259916"/>
            <a:ext cx="5659963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051" y="4853787"/>
            <a:ext cx="5660913" cy="1201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15262FB-F72B-498B-B79F-9B59916EDB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2849" y="4853787"/>
            <a:ext cx="5659968" cy="1201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5B580475-EA95-1441-99A3-9522EF382750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DE1DBDF3-6792-484D-8102-32DD5B3F59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05323E7-09D3-EA48-8BDE-FCCED72831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7" name="Section name here">
            <a:extLst>
              <a:ext uri="{FF2B5EF4-FFF2-40B4-BE49-F238E27FC236}">
                <a16:creationId xmlns:a16="http://schemas.microsoft.com/office/drawing/2014/main" id="{5D5BE90C-7E1B-A74F-8706-D2B90D2419A2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8" name="Section name here">
            <a:extLst>
              <a:ext uri="{FF2B5EF4-FFF2-40B4-BE49-F238E27FC236}">
                <a16:creationId xmlns:a16="http://schemas.microsoft.com/office/drawing/2014/main" id="{93BA1779-B831-3549-AD9F-FED732A764F4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16264128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" name="MTN GROUP BRAND 2021"/>
          <p:cNvSpPr txBox="1"/>
          <p:nvPr/>
        </p:nvSpPr>
        <p:spPr>
          <a:xfrm rot="16200000">
            <a:off x="-212613" y="6044949"/>
            <a:ext cx="1006402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10765">
              <a:lnSpc>
                <a:spcPct val="80000"/>
              </a:lnSpc>
              <a:defRPr sz="600" cap="all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MTN GROUP BRAND 2021</a:t>
            </a:r>
          </a:p>
        </p:txBody>
      </p:sp>
      <p:pic>
        <p:nvPicPr>
          <p:cNvPr id="923" name="Screenshot 2020-06-08 at 09.48.50.png" descr="Screenshot 2020-06-08 at 09.48.5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1597384" y="568593"/>
            <a:ext cx="650451" cy="79614"/>
          </a:xfrm>
          <a:prstGeom prst="rect">
            <a:avLst/>
          </a:prstGeom>
          <a:ln w="12700">
            <a:miter lim="400000"/>
          </a:ln>
        </p:spPr>
      </p:pic>
      <p:sp>
        <p:nvSpPr>
          <p:cNvPr id="9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3877" y="6536531"/>
            <a:ext cx="239484" cy="232485"/>
          </a:xfrm>
          <a:prstGeom prst="rect">
            <a:avLst/>
          </a:prstGeom>
          <a:noFill/>
        </p:spPr>
        <p:txBody>
          <a:bodyPr wrap="none" lIns="35718" tIns="35718" rIns="35718" bIns="35718" anchor="t"/>
          <a:lstStyle>
            <a:lvl1pPr defTabSz="410765">
              <a:defRPr sz="1100" b="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5248197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oolkit -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932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933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934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935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936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9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06200" y="438368"/>
            <a:ext cx="171958" cy="165101"/>
          </a:xfrm>
          <a:prstGeom prst="rect">
            <a:avLst/>
          </a:prstGeom>
          <a:noFill/>
        </p:spPr>
        <p:txBody>
          <a:bodyPr wrap="none" lIns="25400" tIns="25400" rIns="25400" bIns="25400" anchor="b"/>
          <a:lstStyle>
            <a:lvl1pPr algn="l" defTabSz="412750">
              <a:defRPr sz="700" b="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29562292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" name="Title Text"/>
          <p:cNvSpPr txBox="1">
            <a:spLocks noGrp="1"/>
          </p:cNvSpPr>
          <p:nvPr>
            <p:ph type="title"/>
          </p:nvPr>
        </p:nvSpPr>
        <p:spPr>
          <a:xfrm>
            <a:off x="415599" y="593366"/>
            <a:ext cx="11360802" cy="763601"/>
          </a:xfrm>
          <a:prstGeom prst="rect">
            <a:avLst/>
          </a:prstGeom>
        </p:spPr>
        <p:txBody>
          <a:bodyPr lIns="121899" tIns="121899" rIns="121899" bIns="121899" anchor="t">
            <a:normAutofit/>
          </a:bodyPr>
          <a:lstStyle>
            <a:lvl1pPr defTabSz="1219200">
              <a:lnSpc>
                <a:spcPct val="100000"/>
              </a:lnSpc>
              <a:defRPr sz="3600" b="0"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94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02195" y="6271715"/>
            <a:ext cx="426016" cy="416615"/>
          </a:xfrm>
          <a:prstGeom prst="rect">
            <a:avLst/>
          </a:prstGeom>
          <a:noFill/>
        </p:spPr>
        <p:txBody>
          <a:bodyPr wrap="none" lIns="121899" tIns="121899" rIns="121899" bIns="121899"/>
          <a:lstStyle>
            <a:lvl1pPr algn="r" defTabSz="1219200">
              <a:defRPr sz="1200" b="0">
                <a:solidFill>
                  <a:srgbClr val="595959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3249016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oolkit master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953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954" name="TextBox 7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sp>
        <p:nvSpPr>
          <p:cNvPr id="955" name="Rectangle 3"/>
          <p:cNvSpPr/>
          <p:nvPr/>
        </p:nvSpPr>
        <p:spPr>
          <a:xfrm>
            <a:off x="-3" y="6324943"/>
            <a:ext cx="12192007" cy="533059"/>
          </a:xfrm>
          <a:prstGeom prst="rect">
            <a:avLst/>
          </a:prstGeom>
          <a:solidFill>
            <a:srgbClr val="FFCD0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 defTabSz="914377">
              <a:defRPr sz="1200">
                <a:solidFill>
                  <a:srgbClr val="FFCD05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956" name="Picture 9" descr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382" y="6441349"/>
            <a:ext cx="600490" cy="300247"/>
          </a:xfrm>
          <a:prstGeom prst="rect">
            <a:avLst/>
          </a:prstGeom>
          <a:ln w="12700">
            <a:miter lim="400000"/>
          </a:ln>
        </p:spPr>
      </p:pic>
      <p:sp>
        <p:nvSpPr>
          <p:cNvPr id="957" name="TextBox 7"/>
          <p:cNvSpPr txBox="1"/>
          <p:nvPr/>
        </p:nvSpPr>
        <p:spPr>
          <a:xfrm>
            <a:off x="9997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 Brand Review</a:t>
            </a:r>
          </a:p>
        </p:txBody>
      </p:sp>
      <p:sp>
        <p:nvSpPr>
          <p:cNvPr id="9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53713" y="377698"/>
            <a:ext cx="171959" cy="165101"/>
          </a:xfrm>
          <a:prstGeom prst="rect">
            <a:avLst/>
          </a:prstGeom>
          <a:noFill/>
        </p:spPr>
        <p:txBody>
          <a:bodyPr wrap="none" lIns="25400" tIns="25400" rIns="25400" bIns="25400" anchor="b"/>
          <a:lstStyle>
            <a:lvl1pPr algn="l" defTabSz="412750">
              <a:defRPr sz="700" b="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9046272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oolkit master-yellow copy">
    <p:bg>
      <p:bgPr>
        <a:solidFill>
          <a:srgbClr val="F6CB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53713" y="377698"/>
            <a:ext cx="171959" cy="165101"/>
          </a:xfrm>
          <a:prstGeom prst="rect">
            <a:avLst/>
          </a:prstGeom>
          <a:noFill/>
        </p:spPr>
        <p:txBody>
          <a:bodyPr wrap="none" lIns="25400" tIns="25400" rIns="25400" bIns="25400" anchor="b"/>
          <a:lstStyle>
            <a:lvl1pPr algn="l" defTabSz="412750">
              <a:defRPr sz="700" b="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06383274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oolkit master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" name="Page"/>
          <p:cNvSpPr txBox="1"/>
          <p:nvPr/>
        </p:nvSpPr>
        <p:spPr>
          <a:xfrm>
            <a:off x="11506606" y="270149"/>
            <a:ext cx="220155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12750">
              <a:defRPr sz="5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Page</a:t>
            </a:r>
          </a:p>
        </p:txBody>
      </p:sp>
      <p:sp>
        <p:nvSpPr>
          <p:cNvPr id="973" name="SA Brand Review session"/>
          <p:cNvSpPr txBox="1"/>
          <p:nvPr/>
        </p:nvSpPr>
        <p:spPr>
          <a:xfrm>
            <a:off x="1920807" y="270149"/>
            <a:ext cx="838963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12750">
              <a:defRPr sz="5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SA Brand Review session</a:t>
            </a:r>
          </a:p>
        </p:txBody>
      </p:sp>
      <p:pic>
        <p:nvPicPr>
          <p:cNvPr id="974" name="Image" descr="Image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727" y="202974"/>
            <a:ext cx="548102" cy="274052"/>
          </a:xfrm>
          <a:prstGeom prst="rect">
            <a:avLst/>
          </a:prstGeom>
          <a:ln w="12700">
            <a:miter lim="400000"/>
          </a:ln>
        </p:spPr>
      </p:pic>
      <p:sp>
        <p:nvSpPr>
          <p:cNvPr id="975" name="Section"/>
          <p:cNvSpPr txBox="1"/>
          <p:nvPr/>
        </p:nvSpPr>
        <p:spPr>
          <a:xfrm>
            <a:off x="3324890" y="270149"/>
            <a:ext cx="295403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12750">
              <a:defRPr sz="5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Section</a:t>
            </a:r>
          </a:p>
        </p:txBody>
      </p:sp>
      <p:sp>
        <p:nvSpPr>
          <p:cNvPr id="976" name="Line"/>
          <p:cNvSpPr/>
          <p:nvPr/>
        </p:nvSpPr>
        <p:spPr>
          <a:xfrm>
            <a:off x="483896" y="597369"/>
            <a:ext cx="11224208" cy="1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22859" tIns="22859" rIns="22859" bIns="22859"/>
          <a:lstStyle/>
          <a:p>
            <a:pPr defTabSz="1219168">
              <a:lnSpc>
                <a:spcPct val="90000"/>
              </a:lnSpc>
              <a:spcBef>
                <a:spcPts val="2200"/>
              </a:spcBef>
              <a:defRPr sz="24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/>
          </a:p>
        </p:txBody>
      </p:sp>
      <p:sp>
        <p:nvSpPr>
          <p:cNvPr id="97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338853" y="364998"/>
            <a:ext cx="511018" cy="177802"/>
          </a:xfrm>
          <a:prstGeom prst="rect">
            <a:avLst/>
          </a:prstGeom>
        </p:spPr>
        <p:txBody>
          <a:bodyPr lIns="25400" tIns="25400" rIns="25400" bIns="25400" anchor="ctr"/>
          <a:lstStyle>
            <a:lvl1pPr defTabSz="412750">
              <a:defRPr sz="700" i="1">
                <a:latin typeface="+mn-lt"/>
                <a:ea typeface="+mn-ea"/>
                <a:cs typeface="+mn-cs"/>
                <a:sym typeface="MTN Brighter Sans Bold"/>
              </a:defRPr>
            </a:lvl1pPr>
            <a:lvl2pPr marL="698500" indent="-88900" defTabSz="412750">
              <a:buSzPct val="123000"/>
              <a:buChar char="•"/>
              <a:defRPr sz="700" i="1">
                <a:latin typeface="+mn-lt"/>
                <a:ea typeface="+mn-ea"/>
                <a:cs typeface="+mn-cs"/>
                <a:sym typeface="MTN Brighter Sans Bold"/>
              </a:defRPr>
            </a:lvl2pPr>
            <a:lvl3pPr marL="1308100" indent="-88900" defTabSz="412750">
              <a:buSzPct val="123000"/>
              <a:defRPr sz="700" i="1">
                <a:latin typeface="+mn-lt"/>
                <a:ea typeface="+mn-ea"/>
                <a:cs typeface="+mn-cs"/>
                <a:sym typeface="MTN Brighter Sans Bold"/>
              </a:defRPr>
            </a:lvl3pPr>
            <a:lvl4pPr marL="1917700" indent="-88900" defTabSz="412750">
              <a:buSzPct val="123000"/>
              <a:buChar char="•"/>
              <a:defRPr sz="700" i="1">
                <a:latin typeface="+mn-lt"/>
                <a:ea typeface="+mn-ea"/>
                <a:cs typeface="+mn-cs"/>
                <a:sym typeface="MTN Brighter Sans Bold"/>
              </a:defRPr>
            </a:lvl4pPr>
            <a:lvl5pPr marL="2527300" indent="-88900" defTabSz="412750">
              <a:buSzPct val="123000"/>
              <a:defRPr sz="700" i="1">
                <a:latin typeface="+mn-lt"/>
                <a:ea typeface="+mn-ea"/>
                <a:cs typeface="+mn-cs"/>
                <a:sym typeface="MTN Brighter Sans Bold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7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53713" y="377698"/>
            <a:ext cx="171959" cy="165101"/>
          </a:xfrm>
          <a:prstGeom prst="rect">
            <a:avLst/>
          </a:prstGeom>
          <a:noFill/>
        </p:spPr>
        <p:txBody>
          <a:bodyPr wrap="none" lIns="25400" tIns="25400" rIns="25400" bIns="25400" anchor="b"/>
          <a:lstStyle>
            <a:lvl1pPr algn="l" defTabSz="412750">
              <a:defRPr sz="700" b="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6840625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Campaign Toolkit"/>
          <p:cNvSpPr txBox="1"/>
          <p:nvPr/>
        </p:nvSpPr>
        <p:spPr>
          <a:xfrm>
            <a:off x="1530929" y="333048"/>
            <a:ext cx="967436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 defTabSz="825500">
              <a:defRPr sz="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Presentation Name</a:t>
            </a:r>
          </a:p>
        </p:txBody>
      </p:sp>
      <p:sp>
        <p:nvSpPr>
          <p:cNvPr id="986" name="Section"/>
          <p:cNvSpPr txBox="1"/>
          <p:nvPr/>
        </p:nvSpPr>
        <p:spPr>
          <a:xfrm>
            <a:off x="4352675" y="333048"/>
            <a:ext cx="383744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 defTabSz="825500">
              <a:defRPr sz="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Section</a:t>
            </a:r>
          </a:p>
        </p:txBody>
      </p:sp>
      <p:sp>
        <p:nvSpPr>
          <p:cNvPr id="987" name="Line"/>
          <p:cNvSpPr/>
          <p:nvPr/>
        </p:nvSpPr>
        <p:spPr>
          <a:xfrm>
            <a:off x="237050" y="1054467"/>
            <a:ext cx="11717901" cy="1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45719" rIns="45719"/>
          <a:lstStyle/>
          <a:p>
            <a:pPr>
              <a:defRPr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988" name="Picture 5" descr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7777" y="6467519"/>
            <a:ext cx="1790701" cy="177801"/>
          </a:xfrm>
          <a:prstGeom prst="rect">
            <a:avLst/>
          </a:prstGeom>
          <a:ln w="12700">
            <a:miter lim="400000"/>
          </a:ln>
        </p:spPr>
      </p:pic>
      <p:pic>
        <p:nvPicPr>
          <p:cNvPr id="989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84" y="256460"/>
            <a:ext cx="1066112" cy="533057"/>
          </a:xfrm>
          <a:prstGeom prst="rect">
            <a:avLst/>
          </a:prstGeom>
          <a:ln w="12700">
            <a:miter lim="400000"/>
          </a:ln>
        </p:spPr>
      </p:pic>
      <p:sp>
        <p:nvSpPr>
          <p:cNvPr id="990" name="Add title"/>
          <p:cNvSpPr txBox="1">
            <a:spLocks noGrp="1"/>
          </p:cNvSpPr>
          <p:nvPr>
            <p:ph type="title" hasCustomPrompt="1"/>
          </p:nvPr>
        </p:nvSpPr>
        <p:spPr>
          <a:xfrm>
            <a:off x="392514" y="344206"/>
            <a:ext cx="11404601" cy="493812"/>
          </a:xfrm>
          <a:prstGeom prst="rect">
            <a:avLst/>
          </a:prstGeom>
        </p:spPr>
        <p:txBody>
          <a:bodyPr lIns="45719" tIns="45719" rIns="45719" bIns="45719" anchor="t">
            <a:normAutofit/>
          </a:bodyPr>
          <a:lstStyle>
            <a:lvl1pPr defTabSz="914353"/>
          </a:lstStyle>
          <a:p>
            <a:r>
              <a:t>Add title</a:t>
            </a:r>
          </a:p>
        </p:txBody>
      </p:sp>
      <p:sp>
        <p:nvSpPr>
          <p:cNvPr id="99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  <a:noFill/>
        </p:spPr>
        <p:txBody>
          <a:bodyPr wrap="none" lIns="45719" tIns="45719" rIns="45719" bIns="45719"/>
          <a:lstStyle>
            <a:lvl1pPr algn="r">
              <a:defRPr sz="1200" b="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49237714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Content_Opt1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Campaign Toolkit"/>
          <p:cNvSpPr txBox="1"/>
          <p:nvPr/>
        </p:nvSpPr>
        <p:spPr>
          <a:xfrm>
            <a:off x="1530929" y="333048"/>
            <a:ext cx="967436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 defTabSz="825500">
              <a:defRPr sz="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Presentation Name</a:t>
            </a:r>
          </a:p>
        </p:txBody>
      </p:sp>
      <p:sp>
        <p:nvSpPr>
          <p:cNvPr id="1023" name="Section"/>
          <p:cNvSpPr txBox="1"/>
          <p:nvPr/>
        </p:nvSpPr>
        <p:spPr>
          <a:xfrm>
            <a:off x="4352675" y="333048"/>
            <a:ext cx="383744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 defTabSz="825500">
              <a:defRPr sz="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Section</a:t>
            </a:r>
          </a:p>
        </p:txBody>
      </p:sp>
      <p:sp>
        <p:nvSpPr>
          <p:cNvPr id="1024" name="Line"/>
          <p:cNvSpPr/>
          <p:nvPr/>
        </p:nvSpPr>
        <p:spPr>
          <a:xfrm>
            <a:off x="237050" y="1054467"/>
            <a:ext cx="11717901" cy="1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45719" rIns="45719"/>
          <a:lstStyle/>
          <a:p>
            <a:pPr>
              <a:defRPr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1025" name="Picture 5" descr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7777" y="6467519"/>
            <a:ext cx="1790701" cy="1778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026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84" y="256460"/>
            <a:ext cx="1066112" cy="533057"/>
          </a:xfrm>
          <a:prstGeom prst="rect">
            <a:avLst/>
          </a:prstGeom>
          <a:ln w="12700">
            <a:miter lim="400000"/>
          </a:ln>
        </p:spPr>
      </p:pic>
      <p:sp>
        <p:nvSpPr>
          <p:cNvPr id="1027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70882" y="533735"/>
            <a:ext cx="1560257" cy="205185"/>
          </a:xfrm>
          <a:prstGeom prst="rect">
            <a:avLst/>
          </a:prstGeom>
        </p:spPr>
        <p:txBody>
          <a:bodyPr/>
          <a:lstStyle>
            <a:lvl1pPr defTabSz="825478">
              <a:defRPr sz="1300" i="1">
                <a:latin typeface="+mn-lt"/>
                <a:ea typeface="+mn-ea"/>
                <a:cs typeface="+mn-cs"/>
                <a:sym typeface="MTN Brighter Sans Bold"/>
              </a:defRPr>
            </a:lvl1pPr>
            <a:lvl2pPr marL="371723" indent="-127258" defTabSz="825478">
              <a:defRPr sz="1300" i="1">
                <a:latin typeface="+mn-lt"/>
                <a:ea typeface="+mn-ea"/>
                <a:cs typeface="+mn-cs"/>
                <a:sym typeface="MTN Brighter Sans Bold"/>
              </a:defRPr>
            </a:lvl2pPr>
            <a:lvl3pPr marL="548453" indent="-196046" defTabSz="825478">
              <a:defRPr sz="1300" i="1">
                <a:latin typeface="+mn-lt"/>
                <a:ea typeface="+mn-ea"/>
                <a:cs typeface="+mn-cs"/>
                <a:sym typeface="MTN Brighter Sans Bold"/>
              </a:defRPr>
            </a:lvl3pPr>
            <a:lvl4pPr marL="693043" indent="-177130" defTabSz="825478">
              <a:defRPr sz="1300" i="1">
                <a:latin typeface="+mn-lt"/>
                <a:ea typeface="+mn-ea"/>
                <a:cs typeface="+mn-cs"/>
                <a:sym typeface="MTN Brighter Sans Bold"/>
              </a:defRPr>
            </a:lvl4pPr>
            <a:lvl5pPr marL="828633" indent="-165091" defTabSz="825478">
              <a:defRPr sz="1300" i="1">
                <a:latin typeface="+mn-lt"/>
                <a:ea typeface="+mn-ea"/>
                <a:cs typeface="+mn-cs"/>
                <a:sym typeface="MTN Brighter Sans Bold"/>
              </a:defRPr>
            </a:lvl5pPr>
          </a:lstStyle>
          <a:p>
            <a:r>
              <a:t>Section name her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028" name="Section name her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530927" y="533735"/>
            <a:ext cx="2062533" cy="205185"/>
          </a:xfrm>
          <a:prstGeom prst="rect">
            <a:avLst/>
          </a:prstGeom>
        </p:spPr>
        <p:txBody>
          <a:bodyPr/>
          <a:lstStyle>
            <a:lvl1pPr defTabSz="808969">
              <a:defRPr sz="1274" i="1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Presentation name here</a:t>
            </a:r>
          </a:p>
        </p:txBody>
      </p:sp>
      <p:sp>
        <p:nvSpPr>
          <p:cNvPr id="102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09840" y="400233"/>
            <a:ext cx="245111" cy="254001"/>
          </a:xfrm>
          <a:prstGeom prst="rect">
            <a:avLst/>
          </a:prstGeom>
          <a:noFill/>
        </p:spPr>
        <p:txBody>
          <a:bodyPr wrap="none"/>
          <a:lstStyle>
            <a:lvl1pPr algn="r" defTabSz="825478">
              <a:defRPr sz="1500" b="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61162314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on yellow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Campaign Toolkit"/>
          <p:cNvSpPr txBox="1"/>
          <p:nvPr/>
        </p:nvSpPr>
        <p:spPr>
          <a:xfrm>
            <a:off x="1530929" y="333048"/>
            <a:ext cx="967436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 defTabSz="825500">
              <a:defRPr sz="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Presentation Name</a:t>
            </a:r>
          </a:p>
        </p:txBody>
      </p:sp>
      <p:sp>
        <p:nvSpPr>
          <p:cNvPr id="1037" name="Section"/>
          <p:cNvSpPr txBox="1"/>
          <p:nvPr/>
        </p:nvSpPr>
        <p:spPr>
          <a:xfrm>
            <a:off x="4352675" y="333048"/>
            <a:ext cx="383744" cy="139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 defTabSz="825500">
              <a:defRPr sz="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Section</a:t>
            </a:r>
          </a:p>
        </p:txBody>
      </p:sp>
      <p:sp>
        <p:nvSpPr>
          <p:cNvPr id="1038" name="Line"/>
          <p:cNvSpPr/>
          <p:nvPr/>
        </p:nvSpPr>
        <p:spPr>
          <a:xfrm>
            <a:off x="237050" y="1054467"/>
            <a:ext cx="11717901" cy="1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45719" rIns="45719"/>
          <a:lstStyle/>
          <a:p>
            <a:pPr>
              <a:defRPr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pic>
        <p:nvPicPr>
          <p:cNvPr id="1039" name="Picture 5" descr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7777" y="6467519"/>
            <a:ext cx="1790701" cy="1778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040" name="Picture 9" descr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184" y="256460"/>
            <a:ext cx="1066112" cy="533057"/>
          </a:xfrm>
          <a:prstGeom prst="rect">
            <a:avLst/>
          </a:prstGeom>
          <a:ln w="12700">
            <a:miter lim="400000"/>
          </a:ln>
        </p:spPr>
      </p:pic>
      <p:sp>
        <p:nvSpPr>
          <p:cNvPr id="1041" name="Rectangle 5"/>
          <p:cNvSpPr/>
          <p:nvPr/>
        </p:nvSpPr>
        <p:spPr>
          <a:xfrm>
            <a:off x="-2" y="0"/>
            <a:ext cx="12192003" cy="6858000"/>
          </a:xfrm>
          <a:prstGeom prst="rect">
            <a:avLst/>
          </a:prstGeom>
          <a:solidFill>
            <a:srgbClr val="FFCB05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3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42" name="Add 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239184" y="4223122"/>
            <a:ext cx="11713634" cy="39823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ctr" defTabSz="914353">
              <a:defRPr sz="2800">
                <a:latin typeface="+mn-lt"/>
                <a:ea typeface="+mn-ea"/>
                <a:cs typeface="+mn-cs"/>
                <a:sym typeface="MTN Brighter Sans Bold"/>
              </a:defRPr>
            </a:lvl1pPr>
          </a:lstStyle>
          <a:p>
            <a:r>
              <a:t>Add presentation title</a:t>
            </a:r>
          </a:p>
        </p:txBody>
      </p:sp>
      <p:sp>
        <p:nvSpPr>
          <p:cNvPr id="104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239184" y="4739104"/>
            <a:ext cx="11713634" cy="277000"/>
          </a:xfrm>
          <a:prstGeom prst="rect">
            <a:avLst/>
          </a:prstGeom>
        </p:spPr>
        <p:txBody>
          <a:bodyPr/>
          <a:lstStyle>
            <a:lvl1pPr algn="ctr" defTabSz="914353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  <a:lvl2pPr marL="420668" indent="-176203" algn="ctr" defTabSz="914353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2pPr>
            <a:lvl3pPr marL="623856" indent="-271448" algn="ctr" defTabSz="914353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3pPr>
            <a:lvl4pPr marL="761170" indent="-245257" algn="ctr" defTabSz="914353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4pPr>
            <a:lvl5pPr marL="892130" indent="-228588" algn="ctr" defTabSz="914353">
              <a:defRPr sz="18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5pPr>
          </a:lstStyle>
          <a:p>
            <a:r>
              <a:t>Add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pic>
        <p:nvPicPr>
          <p:cNvPr id="1044" name="Picture 12" descr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1895" y="2308863"/>
            <a:ext cx="5568205" cy="1601081"/>
          </a:xfrm>
          <a:prstGeom prst="rect">
            <a:avLst/>
          </a:prstGeom>
          <a:ln w="12700">
            <a:miter lim="400000"/>
          </a:ln>
        </p:spPr>
      </p:pic>
      <p:pic>
        <p:nvPicPr>
          <p:cNvPr id="1045" name="Picture 7" descr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0651" y="6467519"/>
            <a:ext cx="1790701" cy="1778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046" name="Picture 9" descr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9841" y="436693"/>
            <a:ext cx="1752318" cy="876161"/>
          </a:xfrm>
          <a:prstGeom prst="rect">
            <a:avLst/>
          </a:prstGeom>
          <a:ln w="12700">
            <a:miter lim="400000"/>
          </a:ln>
        </p:spPr>
      </p:pic>
      <p:sp>
        <p:nvSpPr>
          <p:cNvPr id="10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  <a:noFill/>
        </p:spPr>
        <p:txBody>
          <a:bodyPr wrap="none" lIns="45719" tIns="45719" rIns="45719" bIns="45719"/>
          <a:lstStyle>
            <a:lvl1pPr algn="r">
              <a:defRPr sz="1200" b="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9800699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Toolkit master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" name="Page"/>
          <p:cNvSpPr txBox="1"/>
          <p:nvPr/>
        </p:nvSpPr>
        <p:spPr>
          <a:xfrm>
            <a:off x="11506606" y="276499"/>
            <a:ext cx="211802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12750">
              <a:defRPr sz="5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Page</a:t>
            </a:r>
          </a:p>
        </p:txBody>
      </p:sp>
      <p:sp>
        <p:nvSpPr>
          <p:cNvPr id="1055" name="SA Brand Review session"/>
          <p:cNvSpPr txBox="1"/>
          <p:nvPr/>
        </p:nvSpPr>
        <p:spPr>
          <a:xfrm>
            <a:off x="1920807" y="276499"/>
            <a:ext cx="79062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12750">
              <a:defRPr sz="5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SA Brand Review session</a:t>
            </a:r>
          </a:p>
        </p:txBody>
      </p:sp>
      <p:pic>
        <p:nvPicPr>
          <p:cNvPr id="1056" name="Image" descr="Image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727" y="202974"/>
            <a:ext cx="548102" cy="274052"/>
          </a:xfrm>
          <a:prstGeom prst="rect">
            <a:avLst/>
          </a:prstGeom>
          <a:ln w="12700">
            <a:miter lim="400000"/>
          </a:ln>
        </p:spPr>
      </p:pic>
      <p:sp>
        <p:nvSpPr>
          <p:cNvPr id="1057" name="Section"/>
          <p:cNvSpPr txBox="1"/>
          <p:nvPr/>
        </p:nvSpPr>
        <p:spPr>
          <a:xfrm>
            <a:off x="3324890" y="276499"/>
            <a:ext cx="275302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defTabSz="412750">
              <a:defRPr sz="5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t>Section</a:t>
            </a:r>
          </a:p>
        </p:txBody>
      </p:sp>
      <p:sp>
        <p:nvSpPr>
          <p:cNvPr id="1058" name="Line"/>
          <p:cNvSpPr/>
          <p:nvPr/>
        </p:nvSpPr>
        <p:spPr>
          <a:xfrm>
            <a:off x="483896" y="597369"/>
            <a:ext cx="11224208" cy="1"/>
          </a:xfrm>
          <a:prstGeom prst="line">
            <a:avLst/>
          </a:prstGeom>
          <a:ln w="3175">
            <a:solidFill>
              <a:srgbClr val="000000"/>
            </a:solidFill>
            <a:miter lim="400000"/>
          </a:ln>
        </p:spPr>
        <p:txBody>
          <a:bodyPr lIns="22859" tIns="22859" rIns="22859" bIns="22859"/>
          <a:lstStyle/>
          <a:p>
            <a:pPr defTabSz="1219168">
              <a:lnSpc>
                <a:spcPct val="90000"/>
              </a:lnSpc>
              <a:spcBef>
                <a:spcPts val="2200"/>
              </a:spcBef>
              <a:defRPr sz="24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pPr>
            <a:endParaRPr/>
          </a:p>
        </p:txBody>
      </p:sp>
      <p:sp>
        <p:nvSpPr>
          <p:cNvPr id="105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338853" y="364998"/>
            <a:ext cx="511018" cy="177802"/>
          </a:xfrm>
          <a:prstGeom prst="rect">
            <a:avLst/>
          </a:prstGeom>
        </p:spPr>
        <p:txBody>
          <a:bodyPr lIns="25400" tIns="25400" rIns="25400" bIns="25400" anchor="ctr"/>
          <a:lstStyle>
            <a:lvl1pPr defTabSz="412750">
              <a:defRPr sz="700" i="1">
                <a:latin typeface="+mn-lt"/>
                <a:ea typeface="+mn-ea"/>
                <a:cs typeface="+mn-cs"/>
                <a:sym typeface="MTN Brighter Sans Bold"/>
              </a:defRPr>
            </a:lvl1pPr>
            <a:lvl2pPr marL="698500" indent="-88900" defTabSz="412750">
              <a:buSzPct val="123000"/>
              <a:buChar char="•"/>
              <a:defRPr sz="700" i="1">
                <a:latin typeface="+mn-lt"/>
                <a:ea typeface="+mn-ea"/>
                <a:cs typeface="+mn-cs"/>
                <a:sym typeface="MTN Brighter Sans Bold"/>
              </a:defRPr>
            </a:lvl2pPr>
            <a:lvl3pPr marL="1308100" indent="-88900" defTabSz="412750">
              <a:buSzPct val="123000"/>
              <a:defRPr sz="700" i="1">
                <a:latin typeface="+mn-lt"/>
                <a:ea typeface="+mn-ea"/>
                <a:cs typeface="+mn-cs"/>
                <a:sym typeface="MTN Brighter Sans Bold"/>
              </a:defRPr>
            </a:lvl3pPr>
            <a:lvl4pPr marL="1917700" indent="-88900" defTabSz="412750">
              <a:buSzPct val="123000"/>
              <a:buChar char="•"/>
              <a:defRPr sz="700" i="1">
                <a:latin typeface="+mn-lt"/>
                <a:ea typeface="+mn-ea"/>
                <a:cs typeface="+mn-cs"/>
                <a:sym typeface="MTN Brighter Sans Bold"/>
              </a:defRPr>
            </a:lvl4pPr>
            <a:lvl5pPr marL="2527300" indent="-88900" defTabSz="412750">
              <a:buSzPct val="123000"/>
              <a:defRPr sz="700" i="1">
                <a:latin typeface="+mn-lt"/>
                <a:ea typeface="+mn-ea"/>
                <a:cs typeface="+mn-cs"/>
                <a:sym typeface="MTN Brighter Sans Bold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6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53713" y="390398"/>
            <a:ext cx="162385" cy="152401"/>
          </a:xfrm>
          <a:prstGeom prst="rect">
            <a:avLst/>
          </a:prstGeom>
          <a:noFill/>
        </p:spPr>
        <p:txBody>
          <a:bodyPr wrap="none" lIns="25400" tIns="25400" rIns="25400" bIns="25400" anchor="b"/>
          <a:lstStyle>
            <a:lvl1pPr algn="l" defTabSz="412750">
              <a:defRPr sz="700" b="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2707432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3 graph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45372" y="2259916"/>
            <a:ext cx="3676461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9185" y="4853788"/>
            <a:ext cx="3688835" cy="1201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DF131114-5CBC-41B1-985B-047B23366532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263958" y="2259916"/>
            <a:ext cx="3676461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C12BF7B-ABBE-4780-A79E-3FCF62A44B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3958" y="4853788"/>
            <a:ext cx="3676461" cy="1201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68D16368-8CD5-4861-A780-3CE42EA22692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76358" y="2259916"/>
            <a:ext cx="3676460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D3E05BF-B74A-4ACF-8018-D8A5DE7942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76356" y="4853788"/>
            <a:ext cx="3676459" cy="1201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Slide Number">
            <a:extLst>
              <a:ext uri="{FF2B5EF4-FFF2-40B4-BE49-F238E27FC236}">
                <a16:creationId xmlns:a16="http://schemas.microsoft.com/office/drawing/2014/main" id="{B0D2A918-B405-1041-9109-26E694015DB8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705EDEA9-1D3A-AE42-8A79-B2ADA24250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F899430C-3D76-D940-84F5-DB39215C76A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9" name="Section name here">
            <a:extLst>
              <a:ext uri="{FF2B5EF4-FFF2-40B4-BE49-F238E27FC236}">
                <a16:creationId xmlns:a16="http://schemas.microsoft.com/office/drawing/2014/main" id="{F3C5DEF8-F121-7C45-9A2C-7B3EFACF7B5A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20" name="Section name here">
            <a:extLst>
              <a:ext uri="{FF2B5EF4-FFF2-40B4-BE49-F238E27FC236}">
                <a16:creationId xmlns:a16="http://schemas.microsoft.com/office/drawing/2014/main" id="{F3724B5A-67FA-0445-BDF2-D4FF71D94C32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18109611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Custom Layout">
    <p:bg>
      <p:bgPr>
        <a:solidFill>
          <a:srgbClr val="FFCD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" name="TextBox 7"/>
          <p:cNvSpPr txBox="1"/>
          <p:nvPr/>
        </p:nvSpPr>
        <p:spPr>
          <a:xfrm>
            <a:off x="10124868" y="6441349"/>
            <a:ext cx="1624312" cy="294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Presentation Title</a:t>
            </a:r>
          </a:p>
        </p:txBody>
      </p:sp>
      <p:sp>
        <p:nvSpPr>
          <p:cNvPr id="10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8019" y="6487069"/>
            <a:ext cx="198629" cy="203201"/>
          </a:xfrm>
          <a:prstGeom prst="rect">
            <a:avLst/>
          </a:prstGeom>
          <a:noFill/>
        </p:spPr>
        <p:txBody>
          <a:bodyPr wrap="none"/>
          <a:lstStyle>
            <a:lvl1pPr algn="r">
              <a:defRPr sz="1200" b="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1318223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" name="Rectangle 6"/>
          <p:cNvSpPr/>
          <p:nvPr/>
        </p:nvSpPr>
        <p:spPr>
          <a:xfrm>
            <a:off x="407986" y="1341437"/>
            <a:ext cx="11376028" cy="496728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76" name="Rectangle 120"/>
          <p:cNvSpPr/>
          <p:nvPr/>
        </p:nvSpPr>
        <p:spPr>
          <a:xfrm>
            <a:off x="-1841501" y="6858000"/>
            <a:ext cx="1722439" cy="444500"/>
          </a:xfrm>
          <a:prstGeom prst="rect">
            <a:avLst/>
          </a:prstGeom>
          <a:solidFill>
            <a:srgbClr val="E32E6D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77" name="Rectangle 157"/>
          <p:cNvSpPr/>
          <p:nvPr/>
        </p:nvSpPr>
        <p:spPr>
          <a:xfrm>
            <a:off x="-1841501" y="7302500"/>
            <a:ext cx="1722439" cy="444500"/>
          </a:xfrm>
          <a:prstGeom prst="rect">
            <a:avLst/>
          </a:prstGeom>
          <a:solidFill>
            <a:srgbClr val="5A1F58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grpSp>
        <p:nvGrpSpPr>
          <p:cNvPr id="1083" name="Group 3"/>
          <p:cNvGrpSpPr/>
          <p:nvPr/>
        </p:nvGrpSpPr>
        <p:grpSpPr>
          <a:xfrm>
            <a:off x="-1841502" y="1686418"/>
            <a:ext cx="1722440" cy="1506234"/>
            <a:chOff x="0" y="0"/>
            <a:chExt cx="1722438" cy="1506233"/>
          </a:xfrm>
        </p:grpSpPr>
        <p:sp>
          <p:nvSpPr>
            <p:cNvPr id="1078" name="Rectangle 17"/>
            <p:cNvSpPr/>
            <p:nvPr/>
          </p:nvSpPr>
          <p:spPr>
            <a:xfrm>
              <a:off x="-1" y="609115"/>
              <a:ext cx="1722440" cy="288001"/>
            </a:xfrm>
            <a:prstGeom prst="rect">
              <a:avLst/>
            </a:prstGeom>
            <a:solidFill>
              <a:srgbClr val="0DB14B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1079" name="Rectangle 51"/>
            <p:cNvSpPr/>
            <p:nvPr/>
          </p:nvSpPr>
          <p:spPr>
            <a:xfrm>
              <a:off x="-1" y="304557"/>
              <a:ext cx="1722440" cy="288001"/>
            </a:xfrm>
            <a:prstGeom prst="rect">
              <a:avLst/>
            </a:prstGeom>
            <a:solidFill>
              <a:srgbClr val="0D698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1080" name="Rectangle 86"/>
            <p:cNvSpPr/>
            <p:nvPr/>
          </p:nvSpPr>
          <p:spPr>
            <a:xfrm>
              <a:off x="-1" y="913673"/>
              <a:ext cx="1722440" cy="288001"/>
            </a:xfrm>
            <a:prstGeom prst="rect">
              <a:avLst/>
            </a:prstGeom>
            <a:solidFill>
              <a:srgbClr val="60391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1081" name="Rectangle 191"/>
            <p:cNvSpPr/>
            <p:nvPr/>
          </p:nvSpPr>
          <p:spPr>
            <a:xfrm>
              <a:off x="-1" y="-1"/>
              <a:ext cx="1722440" cy="288001"/>
            </a:xfrm>
            <a:prstGeom prst="rect">
              <a:avLst/>
            </a:prstGeom>
            <a:solidFill>
              <a:srgbClr val="F5822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1082" name="Rectangle 229"/>
            <p:cNvSpPr/>
            <p:nvPr/>
          </p:nvSpPr>
          <p:spPr>
            <a:xfrm>
              <a:off x="-1" y="1218233"/>
              <a:ext cx="1722440" cy="288001"/>
            </a:xfrm>
            <a:prstGeom prst="rect">
              <a:avLst/>
            </a:prstGeom>
            <a:solidFill>
              <a:srgbClr val="393839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</p:grpSp>
      <p:sp>
        <p:nvSpPr>
          <p:cNvPr id="1084" name="Rectangle 17"/>
          <p:cNvSpPr/>
          <p:nvPr/>
        </p:nvSpPr>
        <p:spPr>
          <a:xfrm>
            <a:off x="-1841501" y="605127"/>
            <a:ext cx="1722439" cy="288001"/>
          </a:xfrm>
          <a:prstGeom prst="rect">
            <a:avLst/>
          </a:prstGeom>
          <a:solidFill>
            <a:srgbClr val="3DC16F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85" name="Rectangle 51"/>
          <p:cNvSpPr/>
          <p:nvPr/>
        </p:nvSpPr>
        <p:spPr>
          <a:xfrm>
            <a:off x="-1841501" y="302563"/>
            <a:ext cx="1722439" cy="288002"/>
          </a:xfrm>
          <a:prstGeom prst="rect">
            <a:avLst/>
          </a:prstGeom>
          <a:solidFill>
            <a:srgbClr val="3D87A1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86" name="Rectangle 86"/>
          <p:cNvSpPr/>
          <p:nvPr/>
        </p:nvSpPr>
        <p:spPr>
          <a:xfrm>
            <a:off x="-1841501" y="907693"/>
            <a:ext cx="1722439" cy="288001"/>
          </a:xfrm>
          <a:prstGeom prst="rect">
            <a:avLst/>
          </a:prstGeom>
          <a:solidFill>
            <a:srgbClr val="806145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87" name="Rectangle 191"/>
          <p:cNvSpPr/>
          <p:nvPr/>
        </p:nvSpPr>
        <p:spPr>
          <a:xfrm>
            <a:off x="-1841501" y="-1"/>
            <a:ext cx="1722439" cy="288002"/>
          </a:xfrm>
          <a:prstGeom prst="rect">
            <a:avLst/>
          </a:prstGeom>
          <a:solidFill>
            <a:srgbClr val="F79B4D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88" name="Rectangle 229"/>
          <p:cNvSpPr/>
          <p:nvPr/>
        </p:nvSpPr>
        <p:spPr>
          <a:xfrm>
            <a:off x="-1841501" y="1210258"/>
            <a:ext cx="1722439" cy="288001"/>
          </a:xfrm>
          <a:prstGeom prst="rect">
            <a:avLst/>
          </a:prstGeom>
          <a:solidFill>
            <a:srgbClr val="616061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89" name="Rectangle 17"/>
          <p:cNvSpPr/>
          <p:nvPr/>
        </p:nvSpPr>
        <p:spPr>
          <a:xfrm>
            <a:off x="-1841501" y="4098278"/>
            <a:ext cx="1722439" cy="288001"/>
          </a:xfrm>
          <a:prstGeom prst="rect">
            <a:avLst/>
          </a:prstGeom>
          <a:solidFill>
            <a:srgbClr val="D8F3E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90" name="Rectangle 51"/>
          <p:cNvSpPr/>
          <p:nvPr/>
        </p:nvSpPr>
        <p:spPr>
          <a:xfrm>
            <a:off x="-1841501" y="3795714"/>
            <a:ext cx="1722439" cy="288001"/>
          </a:xfrm>
          <a:prstGeom prst="rect">
            <a:avLst/>
          </a:prstGeom>
          <a:solidFill>
            <a:srgbClr val="CCE1E9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91" name="Rectangle 86"/>
          <p:cNvSpPr/>
          <p:nvPr/>
        </p:nvSpPr>
        <p:spPr>
          <a:xfrm>
            <a:off x="-1841501" y="4400844"/>
            <a:ext cx="1722439" cy="288001"/>
          </a:xfrm>
          <a:prstGeom prst="rect">
            <a:avLst/>
          </a:prstGeom>
          <a:solidFill>
            <a:srgbClr val="FFCCCC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92" name="Rectangle 191"/>
          <p:cNvSpPr/>
          <p:nvPr/>
        </p:nvSpPr>
        <p:spPr>
          <a:xfrm>
            <a:off x="-1841501" y="3493151"/>
            <a:ext cx="1722439" cy="288001"/>
          </a:xfrm>
          <a:prstGeom prst="rect">
            <a:avLst/>
          </a:prstGeom>
          <a:solidFill>
            <a:srgbClr val="FFF5CD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93" name="Rectangle 191"/>
          <p:cNvSpPr/>
          <p:nvPr/>
        </p:nvSpPr>
        <p:spPr>
          <a:xfrm>
            <a:off x="-1841501" y="4735338"/>
            <a:ext cx="1722439" cy="257435"/>
          </a:xfrm>
          <a:prstGeom prst="rect">
            <a:avLst/>
          </a:prstGeom>
          <a:solidFill>
            <a:srgbClr val="FDE6D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sp>
        <p:nvSpPr>
          <p:cNvPr id="1094" name="Rectangle 35"/>
          <p:cNvSpPr/>
          <p:nvPr/>
        </p:nvSpPr>
        <p:spPr>
          <a:xfrm>
            <a:off x="-1" y="-732513"/>
            <a:ext cx="1103588" cy="599092"/>
          </a:xfrm>
          <a:prstGeom prst="rect">
            <a:avLst/>
          </a:prstGeom>
          <a:solidFill>
            <a:srgbClr val="F5821E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MTN Brighter Sans Light"/>
                <a:ea typeface="MTN Brighter Sans Light"/>
                <a:cs typeface="MTN Brighter Sans Light"/>
                <a:sym typeface="MTN Brighter Sans Light"/>
              </a:defRPr>
            </a:pPr>
            <a:endParaRPr/>
          </a:p>
        </p:txBody>
      </p:sp>
      <p:sp>
        <p:nvSpPr>
          <p:cNvPr id="1095" name="Rectangle 36"/>
          <p:cNvSpPr/>
          <p:nvPr/>
        </p:nvSpPr>
        <p:spPr>
          <a:xfrm>
            <a:off x="1224455" y="-732513"/>
            <a:ext cx="1103587" cy="599092"/>
          </a:xfrm>
          <a:prstGeom prst="rect">
            <a:avLst/>
          </a:prstGeom>
          <a:solidFill>
            <a:srgbClr val="E12D6E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MTN Brighter Sans Light"/>
                <a:ea typeface="MTN Brighter Sans Light"/>
                <a:cs typeface="MTN Brighter Sans Light"/>
                <a:sym typeface="MTN Brighter Sans Light"/>
              </a:defRPr>
            </a:pPr>
            <a:endParaRPr/>
          </a:p>
        </p:txBody>
      </p:sp>
      <p:sp>
        <p:nvSpPr>
          <p:cNvPr id="1096" name="Rectangle 37"/>
          <p:cNvSpPr/>
          <p:nvPr/>
        </p:nvSpPr>
        <p:spPr>
          <a:xfrm>
            <a:off x="2448910" y="-740844"/>
            <a:ext cx="1103587" cy="599092"/>
          </a:xfrm>
          <a:prstGeom prst="rect">
            <a:avLst/>
          </a:prstGeom>
          <a:solidFill>
            <a:srgbClr val="5A1E5A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MTN Brighter Sans Light"/>
                <a:ea typeface="MTN Brighter Sans Light"/>
                <a:cs typeface="MTN Brighter Sans Light"/>
                <a:sym typeface="MTN Brighter Sans Light"/>
              </a:defRPr>
            </a:pPr>
            <a:endParaRPr/>
          </a:p>
        </p:txBody>
      </p:sp>
      <p:sp>
        <p:nvSpPr>
          <p:cNvPr id="1097" name="Rectangle 38"/>
          <p:cNvSpPr/>
          <p:nvPr/>
        </p:nvSpPr>
        <p:spPr>
          <a:xfrm>
            <a:off x="3673364" y="-740844"/>
            <a:ext cx="1103587" cy="599092"/>
          </a:xfrm>
          <a:prstGeom prst="rect">
            <a:avLst/>
          </a:prstGeom>
          <a:solidFill>
            <a:srgbClr val="0FAF4B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  <a:latin typeface="MTN Brighter Sans Light"/>
                <a:ea typeface="MTN Brighter Sans Light"/>
                <a:cs typeface="MTN Brighter Sans Light"/>
                <a:sym typeface="MTN Brighter Sans Light"/>
              </a:defRPr>
            </a:pPr>
            <a:endParaRPr/>
          </a:p>
        </p:txBody>
      </p:sp>
      <p:sp>
        <p:nvSpPr>
          <p:cNvPr id="1098" name="Straight Connector 7"/>
          <p:cNvSpPr/>
          <p:nvPr/>
        </p:nvSpPr>
        <p:spPr>
          <a:xfrm>
            <a:off x="407987" y="719235"/>
            <a:ext cx="1044002" cy="1"/>
          </a:xfrm>
          <a:prstGeom prst="line">
            <a:avLst/>
          </a:prstGeom>
          <a:ln w="41275">
            <a:solidFill>
              <a:srgbClr val="FFCB05"/>
            </a:solidFill>
            <a:miter/>
          </a:ln>
        </p:spPr>
        <p:txBody>
          <a:bodyPr lIns="45719" rIns="45719"/>
          <a:lstStyle/>
          <a:p>
            <a:pPr>
              <a:defRPr>
                <a:latin typeface="Century Gothic"/>
                <a:ea typeface="Century Gothic"/>
                <a:cs typeface="Century Gothic"/>
                <a:sym typeface="Century Gothic"/>
              </a:defRPr>
            </a:pPr>
            <a:endParaRPr/>
          </a:p>
        </p:txBody>
      </p:sp>
      <p:grpSp>
        <p:nvGrpSpPr>
          <p:cNvPr id="1106" name="Group 33"/>
          <p:cNvGrpSpPr/>
          <p:nvPr/>
        </p:nvGrpSpPr>
        <p:grpSpPr>
          <a:xfrm>
            <a:off x="11456572" y="6414191"/>
            <a:ext cx="382060" cy="382452"/>
            <a:chOff x="0" y="0"/>
            <a:chExt cx="382058" cy="382451"/>
          </a:xfrm>
        </p:grpSpPr>
        <p:sp>
          <p:nvSpPr>
            <p:cNvPr id="1099" name="Rectangle 20"/>
            <p:cNvSpPr/>
            <p:nvPr/>
          </p:nvSpPr>
          <p:spPr>
            <a:xfrm>
              <a:off x="0" y="-1"/>
              <a:ext cx="382059" cy="382453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1100" name="Rectangle 21"/>
            <p:cNvSpPr/>
            <p:nvPr/>
          </p:nvSpPr>
          <p:spPr>
            <a:xfrm>
              <a:off x="19220" y="19220"/>
              <a:ext cx="343618" cy="344010"/>
            </a:xfrm>
            <a:prstGeom prst="rect">
              <a:avLst/>
            </a:prstGeom>
            <a:solidFill>
              <a:srgbClr val="FECA08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1101" name="Oval 22"/>
            <p:cNvSpPr/>
            <p:nvPr/>
          </p:nvSpPr>
          <p:spPr>
            <a:xfrm>
              <a:off x="28635" y="124345"/>
              <a:ext cx="324791" cy="133761"/>
            </a:xfrm>
            <a:prstGeom prst="ellipse">
              <a:avLst/>
            </a:prstGeom>
            <a:solidFill>
              <a:srgbClr val="056890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1102" name="Freeform 23"/>
            <p:cNvSpPr/>
            <p:nvPr/>
          </p:nvSpPr>
          <p:spPr>
            <a:xfrm>
              <a:off x="176515" y="157687"/>
              <a:ext cx="59625" cy="52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37" y="6931"/>
                  </a:moveTo>
                  <a:lnTo>
                    <a:pt x="21600" y="0"/>
                  </a:lnTo>
                  <a:lnTo>
                    <a:pt x="1563" y="0"/>
                  </a:lnTo>
                  <a:lnTo>
                    <a:pt x="0" y="6931"/>
                  </a:lnTo>
                  <a:lnTo>
                    <a:pt x="6537" y="6931"/>
                  </a:lnTo>
                  <a:lnTo>
                    <a:pt x="3268" y="21600"/>
                  </a:lnTo>
                  <a:lnTo>
                    <a:pt x="10232" y="21600"/>
                  </a:lnTo>
                  <a:lnTo>
                    <a:pt x="13500" y="6931"/>
                  </a:lnTo>
                  <a:lnTo>
                    <a:pt x="20037" y="6931"/>
                  </a:lnTo>
                  <a:close/>
                </a:path>
              </a:pathLst>
            </a:custGeom>
            <a:solidFill>
              <a:srgbClr val="FECA08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1103" name="Freeform 24"/>
            <p:cNvSpPr/>
            <p:nvPr/>
          </p:nvSpPr>
          <p:spPr>
            <a:xfrm>
              <a:off x="87081" y="157687"/>
              <a:ext cx="88651" cy="666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14910" y="0"/>
                  </a:lnTo>
                  <a:lnTo>
                    <a:pt x="10609" y="12706"/>
                  </a:lnTo>
                  <a:lnTo>
                    <a:pt x="10609" y="0"/>
                  </a:lnTo>
                  <a:lnTo>
                    <a:pt x="4110" y="0"/>
                  </a:lnTo>
                  <a:lnTo>
                    <a:pt x="0" y="21600"/>
                  </a:lnTo>
                  <a:lnTo>
                    <a:pt x="4492" y="21600"/>
                  </a:lnTo>
                  <a:lnTo>
                    <a:pt x="7168" y="7751"/>
                  </a:lnTo>
                  <a:lnTo>
                    <a:pt x="7168" y="21600"/>
                  </a:lnTo>
                  <a:lnTo>
                    <a:pt x="10609" y="21600"/>
                  </a:lnTo>
                  <a:lnTo>
                    <a:pt x="15770" y="7751"/>
                  </a:lnTo>
                  <a:lnTo>
                    <a:pt x="13285" y="21600"/>
                  </a:lnTo>
                  <a:lnTo>
                    <a:pt x="17490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1104" name="Freeform 25"/>
            <p:cNvSpPr/>
            <p:nvPr/>
          </p:nvSpPr>
          <p:spPr>
            <a:xfrm>
              <a:off x="223979" y="157687"/>
              <a:ext cx="70999" cy="666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16230" y="0"/>
                  </a:lnTo>
                  <a:lnTo>
                    <a:pt x="13604" y="11562"/>
                  </a:lnTo>
                  <a:lnTo>
                    <a:pt x="10979" y="0"/>
                  </a:lnTo>
                  <a:lnTo>
                    <a:pt x="5131" y="0"/>
                  </a:lnTo>
                  <a:lnTo>
                    <a:pt x="0" y="21600"/>
                  </a:lnTo>
                  <a:lnTo>
                    <a:pt x="5370" y="21600"/>
                  </a:lnTo>
                  <a:lnTo>
                    <a:pt x="8234" y="9911"/>
                  </a:lnTo>
                  <a:lnTo>
                    <a:pt x="10979" y="21600"/>
                  </a:lnTo>
                  <a:lnTo>
                    <a:pt x="16588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1105" name="Freeform 26"/>
            <p:cNvSpPr/>
            <p:nvPr/>
          </p:nvSpPr>
          <p:spPr>
            <a:xfrm>
              <a:off x="182007" y="213314"/>
              <a:ext cx="21576" cy="12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56" y="0"/>
                  </a:moveTo>
                  <a:lnTo>
                    <a:pt x="0" y="21600"/>
                  </a:lnTo>
                  <a:lnTo>
                    <a:pt x="19244" y="21600"/>
                  </a:lnTo>
                  <a:lnTo>
                    <a:pt x="21600" y="0"/>
                  </a:lnTo>
                  <a:lnTo>
                    <a:pt x="2356" y="0"/>
                  </a:lnTo>
                  <a:close/>
                </a:path>
              </a:pathLst>
            </a:custGeom>
            <a:solidFill>
              <a:srgbClr val="E5242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2400"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</p:grpSp>
      <p:sp>
        <p:nvSpPr>
          <p:cNvPr id="1107" name="TextBox 17"/>
          <p:cNvSpPr txBox="1"/>
          <p:nvPr/>
        </p:nvSpPr>
        <p:spPr>
          <a:xfrm>
            <a:off x="0" y="6736080"/>
            <a:ext cx="1622425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800"/>
            </a:lvl1pPr>
          </a:lstStyle>
          <a:p>
            <a:r>
              <a:t>Sensitivity: MTN South Africa - Internal</a:t>
            </a:r>
          </a:p>
        </p:txBody>
      </p:sp>
      <p:sp>
        <p:nvSpPr>
          <p:cNvPr id="110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7315200" y="6172200"/>
            <a:ext cx="2844800" cy="368301"/>
          </a:xfrm>
          <a:prstGeom prst="rect">
            <a:avLst/>
          </a:prstGeom>
          <a:noFill/>
        </p:spPr>
        <p:txBody>
          <a:bodyPr wrap="none"/>
          <a:lstStyle>
            <a:lvl1pPr>
              <a:defRPr b="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0490820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C651CE8-9C49-4B30-9110-0E76CD85D4B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721" b="1" i="0" baseline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81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18095" eaLnBrk="1"/>
            <a:endParaRPr lang="en-GB" sz="1089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337505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 no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9BDCBD8-D0D8-4F38-A272-5505E4AE2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CB4ACD-222A-4CE2-863E-AD6A964F0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EDBA0D3-3ED8-48AD-9069-D13EE8D9C9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70812" y="802360"/>
            <a:ext cx="10326302" cy="268816"/>
          </a:xfrm>
          <a:prstGeom prst="rect">
            <a:avLst/>
          </a:prstGeom>
          <a:noFill/>
        </p:spPr>
        <p:txBody>
          <a:bodyPr lIns="0" tIns="0" rIns="0"/>
          <a:lstStyle>
            <a:lvl1pPr marL="0" indent="0">
              <a:buFont typeface="Arial" panose="020B0604020202020204" pitchFamily="34" charset="0"/>
              <a:buNone/>
              <a:defRPr sz="1600" i="1">
                <a:latin typeface="MTN Brighter Sans Light" panose="00000400000000000000" pitchFamily="50" charset="0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7965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lide">
    <p:bg>
      <p:bgPr>
        <a:solidFill>
          <a:srgbClr val="FECD0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F1FE5F78-6385-5C49-88B6-09EE46A8BA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20395" y="6162207"/>
            <a:ext cx="5503353" cy="1706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90000"/>
              </a:lnSpc>
              <a:defRPr sz="1200" b="1" i="0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Click to add presentation title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D953D68A-C9AF-AB46-8931-64E7187F84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129281" y="2676725"/>
            <a:ext cx="2313579" cy="169892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80000"/>
              </a:lnSpc>
              <a:defRPr sz="13000" b="1" i="0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5AFFA046-C8FB-1244-8C6F-B2B7EA438A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0395" y="2673984"/>
            <a:ext cx="4304473" cy="14036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defRPr sz="5000" b="1" i="0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Click to add section title</a:t>
            </a:r>
          </a:p>
        </p:txBody>
      </p:sp>
      <p:sp>
        <p:nvSpPr>
          <p:cNvPr id="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604625" y="6162207"/>
            <a:ext cx="588054" cy="1706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l">
              <a:lnSpc>
                <a:spcPct val="90000"/>
              </a:lnSpc>
              <a:defRPr sz="1200" b="1" i="0">
                <a:latin typeface="MTN Brighter Sans Bold" pitchFamily="2" charset="77"/>
                <a:ea typeface="MTN Brighter Sans Bold" pitchFamily="2" charset="77"/>
                <a:cs typeface="MTN Brighter Sans Bold" pitchFamily="2" charset="77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BB2CBD6C-58BA-3C45-A331-EA3D7ABDF9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9469" y="5422900"/>
            <a:ext cx="1720850" cy="11557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defRPr sz="2500" b="1" i="1">
                <a:latin typeface="MTN Brighter Sans Bold" pitchFamily="2" charset="77"/>
              </a:defRPr>
            </a:lvl1pPr>
          </a:lstStyle>
          <a:p>
            <a:pPr lvl="0"/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8480952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with image n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ection name here">
            <a:extLst>
              <a:ext uri="{FF2B5EF4-FFF2-40B4-BE49-F238E27FC236}">
                <a16:creationId xmlns:a16="http://schemas.microsoft.com/office/drawing/2014/main" id="{F841A614-AEC1-CF40-8894-3FEECD995A46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25" name="Section name here">
            <a:extLst>
              <a:ext uri="{FF2B5EF4-FFF2-40B4-BE49-F238E27FC236}">
                <a16:creationId xmlns:a16="http://schemas.microsoft.com/office/drawing/2014/main" id="{E6511A7E-C0B9-6042-AEB6-1D8D3F3E7787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1CDF80BE-6831-264D-A275-19546B18D8BA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57924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3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F9D9DEB-837D-0843-B05E-FA0A6F8F27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2" name="Section name here">
            <a:extLst>
              <a:ext uri="{FF2B5EF4-FFF2-40B4-BE49-F238E27FC236}">
                <a16:creationId xmlns:a16="http://schemas.microsoft.com/office/drawing/2014/main" id="{9B3D95BC-8BCB-CB48-AB92-71452E319EC9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1326CFF3-A19E-9E47-A258-C0309CED0D6F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871180C-3C4F-0944-AB2F-80015A77A30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6589B4-AD9F-1348-A067-6E43D2B9EF2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39182" y="1987552"/>
            <a:ext cx="11713633" cy="40682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00969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B3A01C11-47C7-491B-9C74-DCF6841DB97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9184" y="1987463"/>
            <a:ext cx="11713632" cy="40682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7952" marR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b="0" i="0" dirty="0">
                <a:latin typeface="MTN Brighter Sans Light" pitchFamily="2" charset="77"/>
              </a:defRPr>
            </a:lvl1pPr>
            <a:lvl2pPr marL="361934" marR="0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2pPr>
            <a:lvl3pPr marL="533373" marR="0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b="0" i="0" dirty="0">
                <a:latin typeface="MTN Brighter Sans Light" pitchFamily="2" charset="77"/>
              </a:defRPr>
            </a:lvl3pPr>
            <a:lvl4pPr marL="679418" marR="0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4pPr>
            <a:lvl5pPr marL="815934" marR="0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b="0" i="0" dirty="0">
                <a:latin typeface="MTN Brighter Sans Light" pitchFamily="2" charset="77"/>
              </a:defRPr>
            </a:lvl5pPr>
          </a:lstStyle>
          <a:p>
            <a:pPr marL="207952" marR="0" lvl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rst level</a:t>
            </a:r>
          </a:p>
          <a:p>
            <a:pPr marL="361934" marR="0" lvl="1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Second level</a:t>
            </a:r>
          </a:p>
          <a:p>
            <a:pPr marL="533373" marR="0" lvl="2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Third level</a:t>
            </a:r>
          </a:p>
          <a:p>
            <a:pPr marL="679418" marR="0" lvl="3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ourth level</a:t>
            </a:r>
          </a:p>
          <a:p>
            <a:pPr marL="815934" marR="0" lvl="4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 pitchFamily="2" charset="77"/>
              <a:ea typeface="+mn-ea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F9D9DEB-837D-0843-B05E-FA0A6F8F27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2" name="Section name here">
            <a:extLst>
              <a:ext uri="{FF2B5EF4-FFF2-40B4-BE49-F238E27FC236}">
                <a16:creationId xmlns:a16="http://schemas.microsoft.com/office/drawing/2014/main" id="{9B3D95BC-8BCB-CB48-AB92-71452E319EC9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1326CFF3-A19E-9E47-A258-C0309CED0D6F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871180C-3C4F-0944-AB2F-80015A77A30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9739591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7363D30A-4379-074D-8A9B-35AEF0ED74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91664" y="1987463"/>
            <a:ext cx="5661152" cy="40682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7952" marR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 lang="en-US" b="0" i="0" dirty="0">
                <a:latin typeface="MTN Brighter Sans Light" pitchFamily="2" charset="77"/>
              </a:defRPr>
            </a:lvl1pPr>
            <a:lvl2pPr marL="361934" marR="0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2pPr>
            <a:lvl3pPr marL="533373" marR="0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US" b="0" i="0" dirty="0">
                <a:latin typeface="MTN Brighter Sans Light" pitchFamily="2" charset="77"/>
              </a:defRPr>
            </a:lvl3pPr>
            <a:lvl4pPr marL="679418" marR="0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 lang="en-US" b="0" i="0" dirty="0">
                <a:latin typeface="MTN Brighter Sans Light" pitchFamily="2" charset="77"/>
              </a:defRPr>
            </a:lvl4pPr>
            <a:lvl5pPr marL="815934" marR="0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b="0" i="0" dirty="0">
                <a:latin typeface="MTN Brighter Sans Light" pitchFamily="2" charset="77"/>
              </a:defRPr>
            </a:lvl5pPr>
          </a:lstStyle>
          <a:p>
            <a:pPr marL="207952" marR="0" lvl="0" indent="-20795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Pct val="80000"/>
              <a:buFontTx/>
              <a:buBlip>
                <a:blip r:embed="rId2"/>
              </a:buBlip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rst level</a:t>
            </a:r>
          </a:p>
          <a:p>
            <a:pPr marL="361934" marR="0" lvl="1" indent="-117469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Second level</a:t>
            </a:r>
          </a:p>
          <a:p>
            <a:pPr marL="533373" marR="0" lvl="2" indent="-180966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Third level</a:t>
            </a:r>
          </a:p>
          <a:p>
            <a:pPr marL="679418" marR="0" lvl="3" indent="-163505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entury Gothic" panose="020B0502020202020204" pitchFamily="34" charset="0"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ourth level</a:t>
            </a:r>
          </a:p>
          <a:p>
            <a:pPr marL="815934" marR="0" lvl="4" indent="-152392" algn="l" defTabSz="914354" rtl="0" eaLnBrk="1" fontAlgn="auto" latinLnBrk="0" hangingPunct="1">
              <a:lnSpc>
                <a:spcPct val="11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TN Brighter Sans" pitchFamily="2" charset="77"/>
                <a:ea typeface="+mn-ea"/>
                <a:cs typeface="+mn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TN Brighter Sans" pitchFamily="2" charset="77"/>
              <a:ea typeface="+mn-ea"/>
              <a:cs typeface="+mn-cs"/>
            </a:endParaRP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4C844A7F-028B-4C40-AD10-6ADF08ACD23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B4665B9F-A1C8-C747-82D1-96680999B1C0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4" name="Section name here">
            <a:extLst>
              <a:ext uri="{FF2B5EF4-FFF2-40B4-BE49-F238E27FC236}">
                <a16:creationId xmlns:a16="http://schemas.microsoft.com/office/drawing/2014/main" id="{C6464404-284A-504A-A427-FC32F4B24049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C035488D-3A04-F048-B002-2B9430E9E40D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920B02-E04B-3340-9B60-7D579BC3BAA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69055" y="1987552"/>
            <a:ext cx="5662084" cy="40682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1pPr>
            <a:lvl2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2pPr>
            <a:lvl3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3pPr>
            <a:lvl4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4pPr>
            <a:lvl5pPr marL="0" indent="0">
              <a:lnSpc>
                <a:spcPct val="110000"/>
              </a:lnSpc>
              <a:spcBef>
                <a:spcPts val="300"/>
              </a:spcBef>
              <a:buFontTx/>
              <a:buNone/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165163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5EDB6370-E20D-4356-B639-0E4B5C5A89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82CC0E3-C737-461B-B4F5-DD460CE8E8EB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239184" y="2259917"/>
            <a:ext cx="11713632" cy="37957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tabl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AA0503A3-75D2-2F4E-A8A6-13FC9C70CF6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3" name="Section name here">
            <a:extLst>
              <a:ext uri="{FF2B5EF4-FFF2-40B4-BE49-F238E27FC236}">
                <a16:creationId xmlns:a16="http://schemas.microsoft.com/office/drawing/2014/main" id="{24399E81-401B-BA48-9EB3-02E66881EA9D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4" name="Section name here">
            <a:extLst>
              <a:ext uri="{FF2B5EF4-FFF2-40B4-BE49-F238E27FC236}">
                <a16:creationId xmlns:a16="http://schemas.microsoft.com/office/drawing/2014/main" id="{86ED424A-4CCF-CF4A-9D4C-28FA24435F73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FF3A299B-7FDB-9D47-A2AC-D6F224534958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33830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4 picture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25307" y="2259916"/>
            <a:ext cx="2745600" cy="1753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59421-45FA-43A8-BD25-8229265F468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47440" y="2259916"/>
            <a:ext cx="2745600" cy="1753709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E7AF78-802D-4740-A91B-59A118A5FB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06025" y="2259916"/>
            <a:ext cx="2745600" cy="1753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5DC0788D-7A25-4604-868F-E66699CD671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21243" y="2259916"/>
            <a:ext cx="2745600" cy="1753709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36" name="Slide Number">
            <a:extLst>
              <a:ext uri="{FF2B5EF4-FFF2-40B4-BE49-F238E27FC236}">
                <a16:creationId xmlns:a16="http://schemas.microsoft.com/office/drawing/2014/main" id="{6A0C0714-5216-3D47-8C15-4B5313DF00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D4FCA1B-11ED-2247-8C25-4C389C94B1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5894360-DB11-4241-8059-F7AEF8B58E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5CE05BDB-C9F2-034D-9E16-388FC294FD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25307" y="4229449"/>
            <a:ext cx="2751101" cy="1826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1" name="Picture Placeholder 2">
            <a:extLst>
              <a:ext uri="{FF2B5EF4-FFF2-40B4-BE49-F238E27FC236}">
                <a16:creationId xmlns:a16="http://schemas.microsoft.com/office/drawing/2014/main" id="{D751E4B1-940B-EF42-9D84-A66B619C127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47442" y="4229449"/>
            <a:ext cx="2739413" cy="1826247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64E702AD-AF41-AD4C-B30B-6C061B525F4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206026" y="4229449"/>
            <a:ext cx="2738533" cy="1826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72EFD718-6AC0-1646-AEC4-13C7B09934B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15593" y="4229449"/>
            <a:ext cx="2745601" cy="1826247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0" name="Section name here">
            <a:extLst>
              <a:ext uri="{FF2B5EF4-FFF2-40B4-BE49-F238E27FC236}">
                <a16:creationId xmlns:a16="http://schemas.microsoft.com/office/drawing/2014/main" id="{51CFD383-231A-9343-899F-EF7FDC026A9D}"/>
              </a:ext>
            </a:extLst>
          </p:cNvPr>
          <p:cNvSpPr txBox="1">
            <a:spLocks noGrp="1"/>
          </p:cNvSpPr>
          <p:nvPr>
            <p:ph type="body" sz="quarter" idx="32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21" name="Section name here">
            <a:extLst>
              <a:ext uri="{FF2B5EF4-FFF2-40B4-BE49-F238E27FC236}">
                <a16:creationId xmlns:a16="http://schemas.microsoft.com/office/drawing/2014/main" id="{0D739596-9080-FB4C-AE78-3F18A7CE3CE3}"/>
              </a:ext>
            </a:extLst>
          </p:cNvPr>
          <p:cNvSpPr txBox="1">
            <a:spLocks noGrp="1"/>
          </p:cNvSpPr>
          <p:nvPr>
            <p:ph type="body" sz="quarter" idx="33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239222577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tab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82CC0E3-C737-461B-B4F5-DD460CE8E8EB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237051" y="2259917"/>
            <a:ext cx="5662101" cy="379578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tab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D744A32-961D-4C16-A06B-7BF0BC19544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92853" y="2259917"/>
            <a:ext cx="5659963" cy="37957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22CAD99F-55C8-3543-B76D-B9B3EB65AEFE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A360388-AEDE-8F45-8733-AF003CEB4EC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FB3790B2-1825-134B-852F-13AD103997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4" name="Section name here">
            <a:extLst>
              <a:ext uri="{FF2B5EF4-FFF2-40B4-BE49-F238E27FC236}">
                <a16:creationId xmlns:a16="http://schemas.microsoft.com/office/drawing/2014/main" id="{214C28B8-C1EE-714C-93D2-E69A46389C5D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5" name="Section name here">
            <a:extLst>
              <a:ext uri="{FF2B5EF4-FFF2-40B4-BE49-F238E27FC236}">
                <a16:creationId xmlns:a16="http://schemas.microsoft.com/office/drawing/2014/main" id="{F5EB58E1-4515-5F4F-98D6-A9CE1117F462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42348885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2 graph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39184" y="2259916"/>
            <a:ext cx="5659968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8" name="Chart Placeholder 6">
            <a:extLst>
              <a:ext uri="{FF2B5EF4-FFF2-40B4-BE49-F238E27FC236}">
                <a16:creationId xmlns:a16="http://schemas.microsoft.com/office/drawing/2014/main" id="{5C597E66-14C3-4694-B0FA-38C1DD74FC10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292853" y="2259916"/>
            <a:ext cx="5659963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7051" y="4853787"/>
            <a:ext cx="5660913" cy="1201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415262FB-F72B-498B-B79F-9B59916EDB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92849" y="4853787"/>
            <a:ext cx="5659968" cy="12019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5B580475-EA95-1441-99A3-9522EF382750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DE1DBDF3-6792-484D-8102-32DD5B3F594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B05323E7-09D3-EA48-8BDE-FCCED72831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7" name="Section name here">
            <a:extLst>
              <a:ext uri="{FF2B5EF4-FFF2-40B4-BE49-F238E27FC236}">
                <a16:creationId xmlns:a16="http://schemas.microsoft.com/office/drawing/2014/main" id="{5D5BE90C-7E1B-A74F-8706-D2B90D2419A2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18" name="Section name here">
            <a:extLst>
              <a:ext uri="{FF2B5EF4-FFF2-40B4-BE49-F238E27FC236}">
                <a16:creationId xmlns:a16="http://schemas.microsoft.com/office/drawing/2014/main" id="{93BA1779-B831-3549-AD9F-FED732A764F4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353801173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3 graph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CC78076A-8742-4CFC-AF97-2B97B76364A0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245372" y="2259916"/>
            <a:ext cx="3676461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9185" y="4853788"/>
            <a:ext cx="3688835" cy="1201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DF131114-5CBC-41B1-985B-047B23366532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263958" y="2259916"/>
            <a:ext cx="3676461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C12BF7B-ABBE-4780-A79E-3FCF62A44B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63958" y="4853788"/>
            <a:ext cx="3676461" cy="1201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hart Placeholder 6">
            <a:extLst>
              <a:ext uri="{FF2B5EF4-FFF2-40B4-BE49-F238E27FC236}">
                <a16:creationId xmlns:a16="http://schemas.microsoft.com/office/drawing/2014/main" id="{68D16368-8CD5-4861-A780-3CE42EA22692}"/>
              </a:ext>
            </a:extLst>
          </p:cNvPr>
          <p:cNvSpPr>
            <a:spLocks noGrp="1"/>
          </p:cNvSpPr>
          <p:nvPr>
            <p:ph type="chart" sz="quarter" idx="18" hasCustomPrompt="1"/>
          </p:nvPr>
        </p:nvSpPr>
        <p:spPr>
          <a:xfrm>
            <a:off x="8276358" y="2259916"/>
            <a:ext cx="3676460" cy="2384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en-GB"/>
              <a:t>Add graph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0D3E05BF-B74A-4ACF-8018-D8A5DE79427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76356" y="4853788"/>
            <a:ext cx="3676459" cy="12019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Slide Number">
            <a:extLst>
              <a:ext uri="{FF2B5EF4-FFF2-40B4-BE49-F238E27FC236}">
                <a16:creationId xmlns:a16="http://schemas.microsoft.com/office/drawing/2014/main" id="{B0D2A918-B405-1041-9109-26E694015DB8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705EDEA9-1D3A-AE42-8A79-B2ADA242507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F899430C-3D76-D940-84F5-DB39215C76A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19" name="Section name here">
            <a:extLst>
              <a:ext uri="{FF2B5EF4-FFF2-40B4-BE49-F238E27FC236}">
                <a16:creationId xmlns:a16="http://schemas.microsoft.com/office/drawing/2014/main" id="{F3C5DEF8-F121-7C45-9A2C-7B3EFACF7B5A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20" name="Section name here">
            <a:extLst>
              <a:ext uri="{FF2B5EF4-FFF2-40B4-BE49-F238E27FC236}">
                <a16:creationId xmlns:a16="http://schemas.microsoft.com/office/drawing/2014/main" id="{F3724B5A-67FA-0445-BDF2-D4FF71D94C32}"/>
              </a:ext>
            </a:extLst>
          </p:cNvPr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9999725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4 pictures with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7608C1CA-ED3F-4E3A-854D-A8668374F9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25307" y="2259916"/>
            <a:ext cx="2745600" cy="1753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A59421-45FA-43A8-BD25-8229265F468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47440" y="2259916"/>
            <a:ext cx="2745600" cy="1753709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0E7AF78-802D-4740-A91B-59A118A5FB8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06025" y="2259916"/>
            <a:ext cx="2745600" cy="175370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5DC0788D-7A25-4604-868F-E66699CD671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221243" y="2259916"/>
            <a:ext cx="2745600" cy="1753709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36" name="Slide Number">
            <a:extLst>
              <a:ext uri="{FF2B5EF4-FFF2-40B4-BE49-F238E27FC236}">
                <a16:creationId xmlns:a16="http://schemas.microsoft.com/office/drawing/2014/main" id="{6A0C0714-5216-3D47-8C15-4B5313DF0013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id="{7D4FCA1B-11ED-2247-8C25-4C389C94B1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4" y="1686980"/>
            <a:ext cx="11713632" cy="2688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i="1"/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5894360-DB11-4241-8059-F7AEF8B58EA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9184" y="1319417"/>
            <a:ext cx="11713633" cy="36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buNone/>
              <a:defRPr lang="en-US" sz="2500" b="1" i="0" smtClean="0">
                <a:latin typeface="MTN Brighter Sans Bold" pitchFamily="2" charset="77"/>
                <a:ea typeface="+mj-ea"/>
                <a:cs typeface="+mj-cs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152392" lvl="0" indent="-152392">
              <a:lnSpc>
                <a:spcPct val="90000"/>
              </a:lnSpc>
              <a:spcBef>
                <a:spcPct val="0"/>
              </a:spcBef>
            </a:pPr>
            <a:r>
              <a:rPr lang="en-US"/>
              <a:t>Add title</a:t>
            </a:r>
            <a:endParaRPr lang="en-GB"/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5CE05BDB-C9F2-034D-9E16-388FC294FD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25307" y="4229449"/>
            <a:ext cx="2751101" cy="1826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1" name="Picture Placeholder 2">
            <a:extLst>
              <a:ext uri="{FF2B5EF4-FFF2-40B4-BE49-F238E27FC236}">
                <a16:creationId xmlns:a16="http://schemas.microsoft.com/office/drawing/2014/main" id="{D751E4B1-940B-EF42-9D84-A66B619C127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47442" y="4229449"/>
            <a:ext cx="2739413" cy="1826247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64E702AD-AF41-AD4C-B30B-6C061B525F4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206026" y="4229449"/>
            <a:ext cx="2738533" cy="1826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GB" dirty="0"/>
            </a:lvl5pPr>
          </a:lstStyle>
          <a:p>
            <a:pPr marL="207952" lvl="0" indent="-207952">
              <a:buSzPct val="80000"/>
              <a:buFontTx/>
              <a:buBlip>
                <a:blip r:embed="rId2"/>
              </a:buBlip>
            </a:pPr>
            <a:r>
              <a:rPr lang="en-US"/>
              <a:t>First level</a:t>
            </a:r>
          </a:p>
          <a:p>
            <a:pPr marL="361934" lvl="1" indent="-117469">
              <a:buFont typeface="Century Gothic" panose="020B0502020202020204" pitchFamily="34" charset="0"/>
              <a:buChar char="–"/>
            </a:pPr>
            <a:r>
              <a:rPr lang="en-US"/>
              <a:t>Second level</a:t>
            </a:r>
          </a:p>
          <a:p>
            <a:pPr marL="533373" lvl="2" indent="-180966"/>
            <a:r>
              <a:rPr lang="en-US"/>
              <a:t>Third level</a:t>
            </a:r>
          </a:p>
          <a:p>
            <a:pPr marL="679418" lvl="3" indent="-163505">
              <a:buFont typeface="Century Gothic" panose="020B0502020202020204" pitchFamily="34" charset="0"/>
              <a:buChar char="–"/>
            </a:pPr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72EFD718-6AC0-1646-AEC4-13C7B09934B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15593" y="4229449"/>
            <a:ext cx="2745601" cy="1826247"/>
          </a:xfrm>
          <a:prstGeom prst="rect">
            <a:avLst/>
          </a:prstGeom>
          <a:solidFill>
            <a:srgbClr val="EEEFEF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Add picture</a:t>
            </a:r>
          </a:p>
        </p:txBody>
      </p:sp>
      <p:sp>
        <p:nvSpPr>
          <p:cNvPr id="20" name="Section name here">
            <a:extLst>
              <a:ext uri="{FF2B5EF4-FFF2-40B4-BE49-F238E27FC236}">
                <a16:creationId xmlns:a16="http://schemas.microsoft.com/office/drawing/2014/main" id="{51CFD383-231A-9343-899F-EF7FDC026A9D}"/>
              </a:ext>
            </a:extLst>
          </p:cNvPr>
          <p:cNvSpPr txBox="1">
            <a:spLocks noGrp="1"/>
          </p:cNvSpPr>
          <p:nvPr>
            <p:ph type="body" sz="quarter" idx="32" hasCustomPrompt="1"/>
          </p:nvPr>
        </p:nvSpPr>
        <p:spPr>
          <a:xfrm>
            <a:off x="4370883" y="533735"/>
            <a:ext cx="1560256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t>Section name here</a:t>
            </a:r>
          </a:p>
        </p:txBody>
      </p:sp>
      <p:sp>
        <p:nvSpPr>
          <p:cNvPr id="21" name="Section name here">
            <a:extLst>
              <a:ext uri="{FF2B5EF4-FFF2-40B4-BE49-F238E27FC236}">
                <a16:creationId xmlns:a16="http://schemas.microsoft.com/office/drawing/2014/main" id="{0D739596-9080-FB4C-AE78-3F18A7CE3CE3}"/>
              </a:ext>
            </a:extLst>
          </p:cNvPr>
          <p:cNvSpPr txBox="1">
            <a:spLocks noGrp="1"/>
          </p:cNvSpPr>
          <p:nvPr>
            <p:ph type="body" sz="quarter" idx="33" hasCustomPrompt="1"/>
          </p:nvPr>
        </p:nvSpPr>
        <p:spPr>
          <a:xfrm>
            <a:off x="1530928" y="533735"/>
            <a:ext cx="2062531" cy="205184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825479">
              <a:lnSpc>
                <a:spcPct val="100000"/>
              </a:lnSpc>
              <a:spcBef>
                <a:spcPts val="0"/>
              </a:spcBef>
              <a:buSzTx/>
              <a:buNone/>
              <a:defRPr sz="1333" b="0" i="1">
                <a:latin typeface="MTN Brighter Sans Bold"/>
                <a:ea typeface="MTN Brighter Sans Bold"/>
                <a:cs typeface="MTN Brighter Sans Bold"/>
                <a:sym typeface="MTN Brighter Sans Bold"/>
              </a:defRPr>
            </a:lvl1pPr>
          </a:lstStyle>
          <a:p>
            <a:r>
              <a:rPr lang="en-US"/>
              <a:t>Presentation</a:t>
            </a:r>
            <a:r>
              <a:t> name here</a:t>
            </a:r>
          </a:p>
        </p:txBody>
      </p:sp>
    </p:spTree>
    <p:extLst>
      <p:ext uri="{BB962C8B-B14F-4D97-AF65-F5344CB8AC3E}">
        <p14:creationId xmlns:p14="http://schemas.microsoft.com/office/powerpoint/2010/main" val="319590420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with image n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ge">
            <a:extLst>
              <a:ext uri="{FF2B5EF4-FFF2-40B4-BE49-F238E27FC236}">
                <a16:creationId xmlns:a16="http://schemas.microsoft.com/office/drawing/2014/main" id="{81B3E47C-CC59-344A-AA3D-0607D0763641}"/>
              </a:ext>
            </a:extLst>
          </p:cNvPr>
          <p:cNvSpPr txBox="1"/>
          <p:nvPr userDrawn="1"/>
        </p:nvSpPr>
        <p:spPr>
          <a:xfrm>
            <a:off x="23012400" y="619820"/>
            <a:ext cx="453650" cy="2718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 defTabSz="825500">
              <a:lnSpc>
                <a:spcPct val="100000"/>
              </a:lnSpc>
              <a:spcBef>
                <a:spcPts val="0"/>
              </a:spcBef>
              <a:defRPr sz="1100">
                <a:solidFill>
                  <a:srgbClr val="000000"/>
                </a:solidFill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lvl1pPr>
          </a:lstStyle>
          <a:p>
            <a:r>
              <a:rPr sz="1100"/>
              <a:t>Page</a:t>
            </a:r>
          </a:p>
        </p:txBody>
      </p:sp>
      <p:pic>
        <p:nvPicPr>
          <p:cNvPr id="13" name="Picture 9">
            <a:extLst>
              <a:ext uri="{FF2B5EF4-FFF2-40B4-BE49-F238E27FC236}">
                <a16:creationId xmlns:a16="http://schemas.microsoft.com/office/drawing/2014/main" id="{B03BB9D3-C109-054E-8BF7-6F5417A9AC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39185" y="256461"/>
            <a:ext cx="1066111" cy="533056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D11AF9A5-86DD-2D42-B55D-6D075361C94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337583" y="411817"/>
            <a:ext cx="617367" cy="23083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r" defTabSz="825479">
              <a:defRPr sz="1500" i="1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50947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AF56D0F2-4915-1040-97F6-0118CDEBA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182" y="3253912"/>
            <a:ext cx="11713637" cy="39822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ctr">
              <a:spcBef>
                <a:spcPts val="0"/>
              </a:spcBef>
              <a:defRPr sz="2800" b="1" i="0">
                <a:solidFill>
                  <a:schemeClr val="tx2"/>
                </a:solidFill>
                <a:latin typeface="MTN Brighter Sans Bold" pitchFamily="2" charset="77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2DC3C8DC-1F38-C34E-B703-B598575F8B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0" y="3816390"/>
            <a:ext cx="11713637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2"/>
                </a:solidFill>
                <a:latin typeface="MTN Brighter Sans" pitchFamily="2" charset="77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050AE4-FD82-6B45-8D3A-93732A42FF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00651" y="6471477"/>
            <a:ext cx="1790700" cy="169887"/>
          </a:xfrm>
          <a:prstGeom prst="rect">
            <a:avLst/>
          </a:prstGeom>
        </p:spPr>
      </p:pic>
      <p:pic>
        <p:nvPicPr>
          <p:cNvPr id="18" name="Picture 9">
            <a:extLst>
              <a:ext uri="{FF2B5EF4-FFF2-40B4-BE49-F238E27FC236}">
                <a16:creationId xmlns:a16="http://schemas.microsoft.com/office/drawing/2014/main" id="{3716CC9C-210A-DA40-A118-523C3505DC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219842" y="436693"/>
            <a:ext cx="1752317" cy="87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86244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yellow_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9">
            <a:extLst>
              <a:ext uri="{FF2B5EF4-FFF2-40B4-BE49-F238E27FC236}">
                <a16:creationId xmlns:a16="http://schemas.microsoft.com/office/drawing/2014/main" id="{72B2EB29-9196-0A4C-8B32-DECC85AD7E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239185" y="260705"/>
            <a:ext cx="1066111" cy="53305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0E7D85A-9F03-944F-AD5B-23292491A5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182" y="3253912"/>
            <a:ext cx="11713637" cy="39822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ctr">
              <a:spcBef>
                <a:spcPts val="0"/>
              </a:spcBef>
              <a:defRPr sz="2800" b="1" i="0">
                <a:solidFill>
                  <a:schemeClr val="bg1"/>
                </a:solidFill>
                <a:latin typeface="MTN Brighter Sans Bold" pitchFamily="2" charset="77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5" name="Text Placeholder 19">
            <a:extLst>
              <a:ext uri="{FF2B5EF4-FFF2-40B4-BE49-F238E27FC236}">
                <a16:creationId xmlns:a16="http://schemas.microsoft.com/office/drawing/2014/main" id="{9F9AF3E0-6ED1-E246-ADB8-12E8794332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0" y="3816390"/>
            <a:ext cx="11713637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bg1"/>
                </a:solidFill>
                <a:latin typeface="MTN Brighter Sans" pitchFamily="2" charset="77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1587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1">
            <a:extLst>
              <a:ext uri="{FF2B5EF4-FFF2-40B4-BE49-F238E27FC236}">
                <a16:creationId xmlns:a16="http://schemas.microsoft.com/office/drawing/2014/main" id="{AF56D0F2-4915-1040-97F6-0118CDEBA2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9182" y="3253912"/>
            <a:ext cx="11713637" cy="39822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ctr">
              <a:spcBef>
                <a:spcPts val="0"/>
              </a:spcBef>
              <a:defRPr sz="2800" b="1" i="0">
                <a:latin typeface="MTN Brighter Sans Bold" pitchFamily="2" charset="77"/>
              </a:defRPr>
            </a:lvl1pPr>
          </a:lstStyle>
          <a:p>
            <a:r>
              <a:rPr lang="en-US"/>
              <a:t>Add presentation title</a:t>
            </a:r>
            <a:endParaRPr lang="en-GB"/>
          </a:p>
        </p:txBody>
      </p:sp>
      <p:sp>
        <p:nvSpPr>
          <p:cNvPr id="42" name="Text Placeholder 19">
            <a:extLst>
              <a:ext uri="{FF2B5EF4-FFF2-40B4-BE49-F238E27FC236}">
                <a16:creationId xmlns:a16="http://schemas.microsoft.com/office/drawing/2014/main" id="{2DC3C8DC-1F38-C34E-B703-B598575F8B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9180" y="3816390"/>
            <a:ext cx="11713637" cy="2769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b="0" i="0">
                <a:solidFill>
                  <a:schemeClr val="tx1"/>
                </a:solidFill>
                <a:latin typeface="MTN Brighter Sans" pitchFamily="2" charset="77"/>
              </a:defRPr>
            </a:lvl1pPr>
          </a:lstStyle>
          <a:p>
            <a:pPr lvl="0"/>
            <a:r>
              <a:rPr lang="en-US"/>
              <a:t>Add subtit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050AE4-FD82-6B45-8D3A-93732A42FF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0651" y="6467520"/>
            <a:ext cx="1790700" cy="177800"/>
          </a:xfrm>
          <a:prstGeom prst="rect">
            <a:avLst/>
          </a:prstGeom>
        </p:spPr>
      </p:pic>
      <p:pic>
        <p:nvPicPr>
          <p:cNvPr id="18" name="Picture 9">
            <a:extLst>
              <a:ext uri="{FF2B5EF4-FFF2-40B4-BE49-F238E27FC236}">
                <a16:creationId xmlns:a16="http://schemas.microsoft.com/office/drawing/2014/main" id="{3716CC9C-210A-DA40-A118-523C3505DC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219842" y="436693"/>
            <a:ext cx="1752317" cy="87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39830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ustom Layout">
    <p:bg>
      <p:bgPr>
        <a:solidFill>
          <a:srgbClr val="FFCD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7"/>
          <p:cNvSpPr txBox="1"/>
          <p:nvPr userDrawn="1"/>
        </p:nvSpPr>
        <p:spPr>
          <a:xfrm>
            <a:off x="10124868" y="6130382"/>
            <a:ext cx="1624312" cy="276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r">
              <a:defRPr sz="120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r>
              <a:t>MTN</a:t>
            </a:r>
          </a:p>
        </p:txBody>
      </p:sp>
      <p:sp>
        <p:nvSpPr>
          <p:cNvPr id="31" name="Text Placeholder 29"/>
          <p:cNvSpPr/>
          <p:nvPr/>
        </p:nvSpPr>
        <p:spPr>
          <a:xfrm>
            <a:off x="393835" y="5772267"/>
            <a:ext cx="1260004" cy="630002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miter lim="400000"/>
          </a:ln>
        </p:spPr>
        <p:txBody>
          <a:bodyPr lIns="45718" tIns="45718" rIns="45718" bIns="45718"/>
          <a:lstStyle/>
          <a:p>
            <a:pPr defTabSz="685781">
              <a:lnSpc>
                <a:spcPct val="110000"/>
              </a:lnSpc>
              <a:spcBef>
                <a:spcPts val="200"/>
              </a:spcBef>
              <a:defRPr sz="900">
                <a:latin typeface="MTN Brighter Sans Regular"/>
                <a:ea typeface="MTN Brighter Sans Regular"/>
                <a:cs typeface="MTN Brighter Sans Regular"/>
                <a:sym typeface="MTN Brighter Sans Regular"/>
              </a:defRPr>
            </a:pPr>
            <a:endParaRPr/>
          </a:p>
        </p:txBody>
      </p:sp>
      <p:sp>
        <p:nvSpPr>
          <p:cNvPr id="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798019" y="6487069"/>
            <a:ext cx="198629" cy="203201"/>
          </a:xfrm>
          <a:prstGeom prst="rect">
            <a:avLst/>
          </a:prstGeom>
          <a:noFill/>
        </p:spPr>
        <p:txBody>
          <a:bodyPr wrap="none"/>
          <a:lstStyle>
            <a:lvl1pPr algn="r">
              <a:defRPr sz="1200" b="0"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8992293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022389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9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48.xml"/><Relationship Id="rId34" Type="http://schemas.openxmlformats.org/officeDocument/2006/relationships/slideLayout" Target="../slideLayouts/slideLayout61.xml"/><Relationship Id="rId42" Type="http://schemas.openxmlformats.org/officeDocument/2006/relationships/slideLayout" Target="../slideLayouts/slideLayout69.xml"/><Relationship Id="rId47" Type="http://schemas.openxmlformats.org/officeDocument/2006/relationships/slideLayout" Target="../slideLayouts/slideLayout74.xml"/><Relationship Id="rId50" Type="http://schemas.openxmlformats.org/officeDocument/2006/relationships/slideLayout" Target="../slideLayouts/slideLayout77.xml"/><Relationship Id="rId55" Type="http://schemas.openxmlformats.org/officeDocument/2006/relationships/slideLayout" Target="../slideLayouts/slideLayout82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slideLayout" Target="../slideLayouts/slideLayout59.xml"/><Relationship Id="rId37" Type="http://schemas.openxmlformats.org/officeDocument/2006/relationships/slideLayout" Target="../slideLayouts/slideLayout64.xml"/><Relationship Id="rId40" Type="http://schemas.openxmlformats.org/officeDocument/2006/relationships/slideLayout" Target="../slideLayouts/slideLayout67.xml"/><Relationship Id="rId45" Type="http://schemas.openxmlformats.org/officeDocument/2006/relationships/slideLayout" Target="../slideLayouts/slideLayout72.xml"/><Relationship Id="rId53" Type="http://schemas.openxmlformats.org/officeDocument/2006/relationships/slideLayout" Target="../slideLayouts/slideLayout80.xml"/><Relationship Id="rId58" Type="http://schemas.openxmlformats.org/officeDocument/2006/relationships/theme" Target="../theme/theme3.xml"/><Relationship Id="rId5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slideLayout" Target="../slideLayouts/slideLayout57.xml"/><Relationship Id="rId35" Type="http://schemas.openxmlformats.org/officeDocument/2006/relationships/slideLayout" Target="../slideLayouts/slideLayout62.xml"/><Relationship Id="rId43" Type="http://schemas.openxmlformats.org/officeDocument/2006/relationships/slideLayout" Target="../slideLayouts/slideLayout70.xml"/><Relationship Id="rId48" Type="http://schemas.openxmlformats.org/officeDocument/2006/relationships/slideLayout" Target="../slideLayouts/slideLayout75.xml"/><Relationship Id="rId56" Type="http://schemas.openxmlformats.org/officeDocument/2006/relationships/slideLayout" Target="../slideLayouts/slideLayout83.xml"/><Relationship Id="rId8" Type="http://schemas.openxmlformats.org/officeDocument/2006/relationships/slideLayout" Target="../slideLayouts/slideLayout35.xml"/><Relationship Id="rId51" Type="http://schemas.openxmlformats.org/officeDocument/2006/relationships/slideLayout" Target="../slideLayouts/slideLayout78.xml"/><Relationship Id="rId3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slideLayout" Target="../slideLayouts/slideLayout60.xml"/><Relationship Id="rId38" Type="http://schemas.openxmlformats.org/officeDocument/2006/relationships/slideLayout" Target="../slideLayouts/slideLayout65.xml"/><Relationship Id="rId4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47.xml"/><Relationship Id="rId41" Type="http://schemas.openxmlformats.org/officeDocument/2006/relationships/slideLayout" Target="../slideLayouts/slideLayout68.xml"/><Relationship Id="rId54" Type="http://schemas.openxmlformats.org/officeDocument/2006/relationships/slideLayout" Target="../slideLayouts/slideLayout81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36" Type="http://schemas.openxmlformats.org/officeDocument/2006/relationships/slideLayout" Target="../slideLayouts/slideLayout63.xml"/><Relationship Id="rId49" Type="http://schemas.openxmlformats.org/officeDocument/2006/relationships/slideLayout" Target="../slideLayouts/slideLayout76.xml"/><Relationship Id="rId57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58.xml"/><Relationship Id="rId44" Type="http://schemas.openxmlformats.org/officeDocument/2006/relationships/slideLayout" Target="../slideLayouts/slideLayout71.xml"/><Relationship Id="rId52" Type="http://schemas.openxmlformats.org/officeDocument/2006/relationships/slideLayout" Target="../slideLayouts/slideLayout7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image" Target="../media/image3.sv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8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94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9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26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slideLayout" Target="../slideLayouts/slideLayout128.xml"/><Relationship Id="rId33" Type="http://schemas.openxmlformats.org/officeDocument/2006/relationships/image" Target="../media/image33.emf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29" Type="http://schemas.openxmlformats.org/officeDocument/2006/relationships/theme" Target="../theme/theme6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slideLayout" Target="../slideLayouts/slideLayout127.xml"/><Relationship Id="rId32" Type="http://schemas.openxmlformats.org/officeDocument/2006/relationships/oleObject" Target="../embeddings/oleObject3.bin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slideLayout" Target="../slideLayouts/slideLayout126.xml"/><Relationship Id="rId28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Relationship Id="rId27" Type="http://schemas.openxmlformats.org/officeDocument/2006/relationships/slideLayout" Target="../slideLayouts/slideLayout130.xml"/><Relationship Id="rId30" Type="http://schemas.openxmlformats.org/officeDocument/2006/relationships/tags" Target="../tags/tag4.xml"/><Relationship Id="rId8" Type="http://schemas.openxmlformats.org/officeDocument/2006/relationships/slideLayout" Target="../slideLayouts/slideLayout11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">
            <a:extLst>
              <a:ext uri="{FF2B5EF4-FFF2-40B4-BE49-F238E27FC236}">
                <a16:creationId xmlns:a16="http://schemas.microsoft.com/office/drawing/2014/main" id="{CE84638C-BC7C-2841-A2DE-0B31E6AEFB5B}"/>
              </a:ext>
            </a:extLst>
          </p:cNvPr>
          <p:cNvSpPr/>
          <p:nvPr userDrawn="1"/>
        </p:nvSpPr>
        <p:spPr>
          <a:xfrm>
            <a:off x="237051" y="1054467"/>
            <a:ext cx="11717899" cy="0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algn="ctr" defTabSz="825479">
              <a:lnSpc>
                <a:spcPct val="100000"/>
              </a:lnSpc>
              <a:spcBef>
                <a:spcPts val="0"/>
              </a:spcBef>
              <a:defRPr sz="32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EE886B-D030-EB49-A28B-83640898E656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7778" y="6467520"/>
            <a:ext cx="1790700" cy="1778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EF9F1EF1-7816-244C-BC91-AF21C801AF40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239185" y="256461"/>
            <a:ext cx="1066111" cy="53305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A651A6B-8646-44CF-8EAA-CF6D10AC4F0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36080"/>
            <a:ext cx="162242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ZA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MTN South Africa - Internal</a:t>
            </a:r>
          </a:p>
        </p:txBody>
      </p:sp>
    </p:spTree>
    <p:extLst>
      <p:ext uri="{BB962C8B-B14F-4D97-AF65-F5344CB8AC3E}">
        <p14:creationId xmlns:p14="http://schemas.microsoft.com/office/powerpoint/2010/main" val="597190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4" r:id="rId13"/>
    <p:sldLayoutId id="2147483675" r:id="rId14"/>
    <p:sldLayoutId id="2147483749" r:id="rId15"/>
    <p:sldLayoutId id="2147483752" r:id="rId16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7952" marR="0" indent="-207952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Pct val="80000"/>
        <a:buFontTx/>
        <a:buBlip>
          <a:blip r:embed="rId21"/>
        </a:buBlip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1pPr>
      <a:lvl2pPr marL="361934" marR="0" indent="-117469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2pPr>
      <a:lvl3pPr marL="533373" marR="0" indent="-180966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3pPr>
      <a:lvl4pPr marL="679418" marR="0" indent="-163505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4pPr>
      <a:lvl5pPr marL="815934" marR="0" indent="-152392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GB" sz="1200" kern="1200" dirty="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13">
          <p15:clr>
            <a:srgbClr val="F26B43"/>
          </p15:clr>
        </p15:guide>
        <p15:guide id="3" pos="5647">
          <p15:clr>
            <a:srgbClr val="F26B43"/>
          </p15:clr>
        </p15:guide>
        <p15:guide id="4" orient="horz" pos="3117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9D4D6-7165-EA2B-6B8E-E54EB99E6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0B13C-BE98-F253-0F97-1BF7788AD2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73C8A5-F6E4-45DE-43F0-4C88AAF37B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3A2F2D-3EF4-4283-970A-AFD80088370C}" type="datetimeFigureOut">
              <a:rPr lang="en-ZA" smtClean="0"/>
              <a:t>2023/02/27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5323C3-51F8-F7C8-C6E0-C9B9A3B88E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1F45ED-EF10-B5FD-9AAB-BC62562A1D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89CF66-BED7-4162-A176-29F892375D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15084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4"/>
          <p:cNvSpPr txBox="1"/>
          <p:nvPr/>
        </p:nvSpPr>
        <p:spPr>
          <a:xfrm>
            <a:off x="393699" y="6568608"/>
            <a:ext cx="6787030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>
              <a:defRPr sz="700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t>[Add disclaimer text in slide master mode]</a:t>
            </a:r>
          </a:p>
        </p:txBody>
      </p:sp>
      <p:grpSp>
        <p:nvGrpSpPr>
          <p:cNvPr id="12" name="Group 1"/>
          <p:cNvGrpSpPr/>
          <p:nvPr/>
        </p:nvGrpSpPr>
        <p:grpSpPr>
          <a:xfrm>
            <a:off x="0" y="5310073"/>
            <a:ext cx="12192001" cy="1547931"/>
            <a:chOff x="0" y="0"/>
            <a:chExt cx="12192000" cy="1547929"/>
          </a:xfrm>
        </p:grpSpPr>
        <p:sp>
          <p:nvSpPr>
            <p:cNvPr id="3" name="Freeform: Shape 15"/>
            <p:cNvSpPr/>
            <p:nvPr/>
          </p:nvSpPr>
          <p:spPr>
            <a:xfrm>
              <a:off x="0" y="243519"/>
              <a:ext cx="12192001" cy="130441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11" y="620"/>
                  </a:lnTo>
                  <a:cubicBezTo>
                    <a:pt x="3305" y="6008"/>
                    <a:pt x="6915" y="9154"/>
                    <a:pt x="10800" y="9154"/>
                  </a:cubicBezTo>
                  <a:cubicBezTo>
                    <a:pt x="14685" y="9154"/>
                    <a:pt x="18295" y="6008"/>
                    <a:pt x="21289" y="620"/>
                  </a:cubicBezTo>
                  <a:lnTo>
                    <a:pt x="21600" y="0"/>
                  </a:ln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CB05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grpSp>
          <p:nvGrpSpPr>
            <p:cNvPr id="11" name="Group 5"/>
            <p:cNvGrpSpPr/>
            <p:nvPr/>
          </p:nvGrpSpPr>
          <p:grpSpPr>
            <a:xfrm>
              <a:off x="10648107" y="-1"/>
              <a:ext cx="1150195" cy="1151376"/>
              <a:chOff x="0" y="0"/>
              <a:chExt cx="1150193" cy="1151374"/>
            </a:xfrm>
          </p:grpSpPr>
          <p:sp>
            <p:nvSpPr>
              <p:cNvPr id="4" name="Rectangle 20"/>
              <p:cNvSpPr/>
              <p:nvPr/>
            </p:nvSpPr>
            <p:spPr>
              <a:xfrm>
                <a:off x="-1" y="-1"/>
                <a:ext cx="1150195" cy="1151376"/>
              </a:xfrm>
              <a:prstGeom prst="rect">
                <a:avLst/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5" name="Rectangle 21"/>
              <p:cNvSpPr/>
              <p:nvPr/>
            </p:nvSpPr>
            <p:spPr>
              <a:xfrm>
                <a:off x="57863" y="57862"/>
                <a:ext cx="1034466" cy="1035649"/>
              </a:xfrm>
              <a:prstGeom prst="rect">
                <a:avLst/>
              </a:prstGeom>
              <a:solidFill>
                <a:srgbClr val="FECA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6" name="Oval 22"/>
              <p:cNvSpPr/>
              <p:nvPr/>
            </p:nvSpPr>
            <p:spPr>
              <a:xfrm>
                <a:off x="86205" y="374343"/>
                <a:ext cx="977783" cy="402689"/>
              </a:xfrm>
              <a:prstGeom prst="ellipse">
                <a:avLst/>
              </a:prstGeom>
              <a:solidFill>
                <a:srgbClr val="05689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7" name="Freeform 23"/>
              <p:cNvSpPr/>
              <p:nvPr/>
            </p:nvSpPr>
            <p:spPr>
              <a:xfrm>
                <a:off x="531402" y="474719"/>
                <a:ext cx="179498" cy="15824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037" y="6931"/>
                    </a:moveTo>
                    <a:lnTo>
                      <a:pt x="21600" y="0"/>
                    </a:lnTo>
                    <a:lnTo>
                      <a:pt x="1563" y="0"/>
                    </a:lnTo>
                    <a:lnTo>
                      <a:pt x="0" y="6931"/>
                    </a:lnTo>
                    <a:lnTo>
                      <a:pt x="6537" y="6931"/>
                    </a:lnTo>
                    <a:lnTo>
                      <a:pt x="3268" y="21600"/>
                    </a:lnTo>
                    <a:lnTo>
                      <a:pt x="10232" y="21600"/>
                    </a:lnTo>
                    <a:lnTo>
                      <a:pt x="13500" y="6931"/>
                    </a:lnTo>
                    <a:lnTo>
                      <a:pt x="20037" y="6931"/>
                    </a:lnTo>
                    <a:close/>
                  </a:path>
                </a:pathLst>
              </a:custGeom>
              <a:solidFill>
                <a:srgbClr val="FECA08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8" name="Freeform 24"/>
              <p:cNvSpPr/>
              <p:nvPr/>
            </p:nvSpPr>
            <p:spPr>
              <a:xfrm>
                <a:off x="262158" y="474719"/>
                <a:ext cx="266885" cy="2007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4910" y="0"/>
                    </a:lnTo>
                    <a:lnTo>
                      <a:pt x="10609" y="12706"/>
                    </a:lnTo>
                    <a:lnTo>
                      <a:pt x="10609" y="0"/>
                    </a:lnTo>
                    <a:lnTo>
                      <a:pt x="4110" y="0"/>
                    </a:lnTo>
                    <a:lnTo>
                      <a:pt x="0" y="21600"/>
                    </a:lnTo>
                    <a:lnTo>
                      <a:pt x="4492" y="21600"/>
                    </a:lnTo>
                    <a:lnTo>
                      <a:pt x="7168" y="7751"/>
                    </a:lnTo>
                    <a:lnTo>
                      <a:pt x="7168" y="21600"/>
                    </a:lnTo>
                    <a:lnTo>
                      <a:pt x="10609" y="21600"/>
                    </a:lnTo>
                    <a:lnTo>
                      <a:pt x="15770" y="7751"/>
                    </a:lnTo>
                    <a:lnTo>
                      <a:pt x="13285" y="21600"/>
                    </a:lnTo>
                    <a:lnTo>
                      <a:pt x="1749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9" name="Freeform 25"/>
              <p:cNvSpPr/>
              <p:nvPr/>
            </p:nvSpPr>
            <p:spPr>
              <a:xfrm>
                <a:off x="674291" y="474719"/>
                <a:ext cx="213744" cy="20075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0"/>
                    </a:moveTo>
                    <a:lnTo>
                      <a:pt x="16230" y="0"/>
                    </a:lnTo>
                    <a:lnTo>
                      <a:pt x="13604" y="11562"/>
                    </a:lnTo>
                    <a:lnTo>
                      <a:pt x="10979" y="0"/>
                    </a:lnTo>
                    <a:lnTo>
                      <a:pt x="5131" y="0"/>
                    </a:lnTo>
                    <a:lnTo>
                      <a:pt x="0" y="21600"/>
                    </a:lnTo>
                    <a:lnTo>
                      <a:pt x="5370" y="21600"/>
                    </a:lnTo>
                    <a:lnTo>
                      <a:pt x="8234" y="9911"/>
                    </a:lnTo>
                    <a:lnTo>
                      <a:pt x="10979" y="21600"/>
                    </a:lnTo>
                    <a:lnTo>
                      <a:pt x="16588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  <p:sp>
            <p:nvSpPr>
              <p:cNvPr id="10" name="Freeform 26"/>
              <p:cNvSpPr/>
              <p:nvPr/>
            </p:nvSpPr>
            <p:spPr>
              <a:xfrm>
                <a:off x="547935" y="647130"/>
                <a:ext cx="64952" cy="2834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56" y="0"/>
                    </a:moveTo>
                    <a:lnTo>
                      <a:pt x="0" y="21600"/>
                    </a:lnTo>
                    <a:lnTo>
                      <a:pt x="19244" y="21600"/>
                    </a:lnTo>
                    <a:lnTo>
                      <a:pt x="21600" y="0"/>
                    </a:lnTo>
                    <a:lnTo>
                      <a:pt x="2356" y="0"/>
                    </a:lnTo>
                    <a:close/>
                  </a:path>
                </a:pathLst>
              </a:custGeom>
              <a:solidFill>
                <a:srgbClr val="E5242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8" tIns="45718" rIns="45718" bIns="45718" numCol="1" anchor="t">
                <a:noAutofit/>
              </a:bodyPr>
              <a:lstStyle/>
              <a:p>
                <a:pPr>
                  <a:defRPr>
                    <a:latin typeface="Century Gothic"/>
                    <a:ea typeface="Century Gothic"/>
                    <a:cs typeface="Century Gothic"/>
                    <a:sym typeface="Century Gothic"/>
                  </a:defRPr>
                </a:pPr>
                <a:endParaRPr/>
              </a:p>
            </p:txBody>
          </p:sp>
        </p:grpSp>
      </p:grpSp>
      <p:sp>
        <p:nvSpPr>
          <p:cNvPr id="13" name="Rectangle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CC0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algn="ctr">
              <a:defRPr sz="2400">
                <a:solidFill>
                  <a:srgbClr val="FFCD05"/>
                </a:solidFill>
              </a:defRPr>
            </a:pPr>
            <a:endParaRPr/>
          </a:p>
        </p:txBody>
      </p:sp>
      <p:sp>
        <p:nvSpPr>
          <p:cNvPr id="14" name="Title Text"/>
          <p:cNvSpPr txBox="1">
            <a:spLocks noGrp="1"/>
          </p:cNvSpPr>
          <p:nvPr>
            <p:ph type="title"/>
          </p:nvPr>
        </p:nvSpPr>
        <p:spPr>
          <a:xfrm>
            <a:off x="609600" y="92074"/>
            <a:ext cx="10972800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45718" tIns="45718" rIns="45718" bIns="45718" anchor="ctr"/>
          <a:lstStyle/>
          <a:p>
            <a:r>
              <a:t>Title Text</a:t>
            </a:r>
          </a:p>
        </p:txBody>
      </p:sp>
      <p:sp>
        <p:nvSpPr>
          <p:cNvPr id="15" name="Body Level One…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737600" y="6172200"/>
            <a:ext cx="2844800" cy="36830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>
            <a:spAutoFit/>
          </a:bodyPr>
          <a:lstStyle>
            <a:lvl1pPr algn="ctr">
              <a:defRPr sz="900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6209BE-5DD5-44E1-8776-34FA19E082B5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36080"/>
            <a:ext cx="162242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ZA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MTN South Africa - Internal</a:t>
            </a:r>
          </a:p>
        </p:txBody>
      </p:sp>
    </p:spTree>
    <p:extLst>
      <p:ext uri="{BB962C8B-B14F-4D97-AF65-F5344CB8AC3E}">
        <p14:creationId xmlns:p14="http://schemas.microsoft.com/office/powerpoint/2010/main" val="1584479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700" r:id="rId23"/>
    <p:sldLayoutId id="2147483701" r:id="rId24"/>
    <p:sldLayoutId id="2147483702" r:id="rId25"/>
    <p:sldLayoutId id="2147483703" r:id="rId26"/>
    <p:sldLayoutId id="2147483704" r:id="rId27"/>
    <p:sldLayoutId id="2147483705" r:id="rId28"/>
    <p:sldLayoutId id="2147483706" r:id="rId29"/>
    <p:sldLayoutId id="2147483707" r:id="rId30"/>
    <p:sldLayoutId id="2147483708" r:id="rId31"/>
    <p:sldLayoutId id="2147483709" r:id="rId32"/>
    <p:sldLayoutId id="2147483710" r:id="rId33"/>
    <p:sldLayoutId id="2147483711" r:id="rId34"/>
    <p:sldLayoutId id="2147483712" r:id="rId35"/>
    <p:sldLayoutId id="2147483713" r:id="rId36"/>
    <p:sldLayoutId id="2147483714" r:id="rId37"/>
    <p:sldLayoutId id="2147483715" r:id="rId38"/>
    <p:sldLayoutId id="2147483716" r:id="rId39"/>
    <p:sldLayoutId id="2147483717" r:id="rId40"/>
    <p:sldLayoutId id="2147483718" r:id="rId41"/>
    <p:sldLayoutId id="2147483719" r:id="rId42"/>
    <p:sldLayoutId id="2147483720" r:id="rId43"/>
    <p:sldLayoutId id="2147483721" r:id="rId44"/>
    <p:sldLayoutId id="2147483722" r:id="rId45"/>
    <p:sldLayoutId id="2147483723" r:id="rId46"/>
    <p:sldLayoutId id="2147483724" r:id="rId47"/>
    <p:sldLayoutId id="2147483725" r:id="rId48"/>
    <p:sldLayoutId id="2147483726" r:id="rId49"/>
    <p:sldLayoutId id="2147483727" r:id="rId50"/>
    <p:sldLayoutId id="2147483728" r:id="rId51"/>
    <p:sldLayoutId id="2147483729" r:id="rId52"/>
    <p:sldLayoutId id="2147483730" r:id="rId53"/>
    <p:sldLayoutId id="2147483731" r:id="rId54"/>
    <p:sldLayoutId id="2147483732" r:id="rId55"/>
    <p:sldLayoutId id="2147483845" r:id="rId56"/>
    <p:sldLayoutId id="2147483887" r:id="rId57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" b="1" i="0" u="none" strike="noStrike" cap="none" spc="0" baseline="0"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" b="1" i="0" u="none" strike="noStrike" cap="none" spc="0" baseline="0"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" b="1" i="0" u="none" strike="noStrike" cap="none" spc="0" baseline="0"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" b="1" i="0" u="none" strike="noStrike" cap="none" spc="0" baseline="0"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" b="1" i="0" u="none" strike="noStrike" cap="none" spc="0" baseline="0"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" b="1" i="0" u="none" strike="noStrike" cap="none" spc="0" baseline="0"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" b="1" i="0" u="none" strike="noStrike" cap="none" spc="0" baseline="0"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" b="1" i="0" u="none" strike="noStrike" cap="none" spc="0" baseline="0"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500" b="1" i="0" u="none" strike="noStrike" cap="none" spc="0" baseline="0">
          <a:solidFill>
            <a:srgbClr val="000000"/>
          </a:solidFill>
          <a:uFillTx/>
          <a:latin typeface="Century Gothic"/>
          <a:ea typeface="Century Gothic"/>
          <a:cs typeface="Century Gothic"/>
          <a:sym typeface="Century Gothic"/>
        </a:defRPr>
      </a:lvl9pPr>
    </p:titleStyle>
    <p:bodyStyle>
      <a:lvl1pPr marL="0" marR="0" indent="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Helvetica"/>
          <a:ea typeface="Helvetica"/>
          <a:cs typeface="Helvetica"/>
          <a:sym typeface="Helvetica"/>
        </a:defRPr>
      </a:lvl1pPr>
      <a:lvl2pPr marL="361949" marR="0" indent="-117474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200" b="0" i="0" u="none" strike="noStrike" cap="none" spc="0" baseline="0">
          <a:solidFill>
            <a:srgbClr val="000000"/>
          </a:solidFill>
          <a:uFillTx/>
          <a:latin typeface="Helvetica"/>
          <a:ea typeface="Helvetica"/>
          <a:cs typeface="Helvetica"/>
          <a:sym typeface="Helvetica"/>
        </a:defRPr>
      </a:lvl2pPr>
      <a:lvl3pPr marL="533399" marR="0" indent="-180974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Helvetica"/>
          <a:ea typeface="Helvetica"/>
          <a:cs typeface="Helvetica"/>
          <a:sym typeface="Helvetica"/>
        </a:defRPr>
      </a:lvl3pPr>
      <a:lvl4pPr marL="679449" marR="0" indent="-163512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–"/>
        <a:tabLst/>
        <a:defRPr sz="1200" b="0" i="0" u="none" strike="noStrike" cap="none" spc="0" baseline="0">
          <a:solidFill>
            <a:srgbClr val="000000"/>
          </a:solidFill>
          <a:uFillTx/>
          <a:latin typeface="Helvetica"/>
          <a:ea typeface="Helvetica"/>
          <a:cs typeface="Helvetica"/>
          <a:sym typeface="Helvetica"/>
        </a:defRPr>
      </a:lvl4pPr>
      <a:lvl5pPr marL="815975" marR="0" indent="-1524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Helvetica"/>
          <a:ea typeface="Helvetica"/>
          <a:cs typeface="Helvetica"/>
          <a:sym typeface="Helvetica"/>
        </a:defRPr>
      </a:lvl5pPr>
      <a:lvl6pPr marL="2438400" marR="0" indent="-1524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Helvetica"/>
          <a:ea typeface="Helvetica"/>
          <a:cs typeface="Helvetica"/>
          <a:sym typeface="Helvetica"/>
        </a:defRPr>
      </a:lvl6pPr>
      <a:lvl7pPr marL="2895600" marR="0" indent="-1524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Helvetica"/>
          <a:ea typeface="Helvetica"/>
          <a:cs typeface="Helvetica"/>
          <a:sym typeface="Helvetica"/>
        </a:defRPr>
      </a:lvl7pPr>
      <a:lvl8pPr marL="3352800" marR="0" indent="-1524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Helvetica"/>
          <a:ea typeface="Helvetica"/>
          <a:cs typeface="Helvetica"/>
          <a:sym typeface="Helvetica"/>
        </a:defRPr>
      </a:lvl8pPr>
      <a:lvl9pPr marL="3810000" marR="0" indent="-152400" algn="l" defTabSz="457200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1200" b="0" i="0" u="none" strike="noStrike" cap="none" spc="0" baseline="0">
          <a:solidFill>
            <a:srgbClr val="000000"/>
          </a:solidFill>
          <a:uFillTx/>
          <a:latin typeface="Helvetica"/>
          <a:ea typeface="Helvetica"/>
          <a:cs typeface="Helvetica"/>
          <a:sym typeface="Helvetica"/>
        </a:defRPr>
      </a:lvl9pPr>
    </p:bodyStyle>
    <p:otherStyle>
      <a:lvl1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1pPr>
      <a:lvl2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2pPr>
      <a:lvl3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3pPr>
      <a:lvl4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4pPr>
      <a:lvl5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5pPr>
      <a:lvl6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6pPr>
      <a:lvl7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7pPr>
      <a:lvl8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8pPr>
      <a:lvl9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1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entury Gothic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">
            <a:extLst>
              <a:ext uri="{FF2B5EF4-FFF2-40B4-BE49-F238E27FC236}">
                <a16:creationId xmlns:a16="http://schemas.microsoft.com/office/drawing/2014/main" id="{CE84638C-BC7C-2841-A2DE-0B31E6AEFB5B}"/>
              </a:ext>
            </a:extLst>
          </p:cNvPr>
          <p:cNvSpPr/>
          <p:nvPr userDrawn="1"/>
        </p:nvSpPr>
        <p:spPr>
          <a:xfrm>
            <a:off x="237051" y="1054467"/>
            <a:ext cx="11717899" cy="0"/>
          </a:xfrm>
          <a:prstGeom prst="lin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50800" tIns="50800" rIns="50800" bIns="50800" anchor="ctr"/>
          <a:lstStyle/>
          <a:p>
            <a:pPr algn="ctr" defTabSz="825479">
              <a:lnSpc>
                <a:spcPct val="100000"/>
              </a:lnSpc>
              <a:spcBef>
                <a:spcPts val="0"/>
              </a:spcBef>
              <a:defRPr sz="32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EE886B-D030-EB49-A28B-83640898E656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7778" y="6467520"/>
            <a:ext cx="1790700" cy="177800"/>
          </a:xfrm>
          <a:prstGeom prst="rect">
            <a:avLst/>
          </a:prstGeom>
        </p:spPr>
      </p:pic>
      <p:pic>
        <p:nvPicPr>
          <p:cNvPr id="7" name="Picture 9">
            <a:extLst>
              <a:ext uri="{FF2B5EF4-FFF2-40B4-BE49-F238E27FC236}">
                <a16:creationId xmlns:a16="http://schemas.microsoft.com/office/drawing/2014/main" id="{EF9F1EF1-7816-244C-BC91-AF21C801AF40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239185" y="256461"/>
            <a:ext cx="1066111" cy="53305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A8CF448-8BD8-4892-B1B4-99173E5E6B5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36080"/>
            <a:ext cx="162242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ZA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MTN South Africa - Internal</a:t>
            </a:r>
          </a:p>
        </p:txBody>
      </p:sp>
    </p:spTree>
    <p:extLst>
      <p:ext uri="{BB962C8B-B14F-4D97-AF65-F5344CB8AC3E}">
        <p14:creationId xmlns:p14="http://schemas.microsoft.com/office/powerpoint/2010/main" val="3670810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</p:sldLayoutIdLst>
  <p:hf hdr="0" ft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7952" marR="0" indent="-207952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Pct val="80000"/>
        <a:buFontTx/>
        <a:buBlip>
          <a:blip r:embed="rId19"/>
        </a:buBlip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1pPr>
      <a:lvl2pPr marL="361934" marR="0" indent="-117469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2pPr>
      <a:lvl3pPr marL="533373" marR="0" indent="-180966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3pPr>
      <a:lvl4pPr marL="679418" marR="0" indent="-163505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Century Gothic" panose="020B0502020202020204" pitchFamily="34" charset="0"/>
        <a:buChar char="–"/>
        <a:tabLst/>
        <a:defRPr lang="en-US" sz="1200" kern="120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4pPr>
      <a:lvl5pPr marL="815934" marR="0" indent="-152392" algn="l" defTabSz="914354" rtl="0" eaLnBrk="1" fontAlgn="auto" latinLnBrk="0" hangingPunct="1">
        <a:lnSpc>
          <a:spcPct val="110000"/>
        </a:lnSpc>
        <a:spcBef>
          <a:spcPts val="3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GB" sz="1200" kern="1200" dirty="0" smtClean="0">
          <a:solidFill>
            <a:schemeClr val="tx1"/>
          </a:solidFill>
          <a:latin typeface="MTN Brighter Sans" pitchFamily="2" charset="77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13">
          <p15:clr>
            <a:srgbClr val="F26B43"/>
          </p15:clr>
        </p15:guide>
        <p15:guide id="3" pos="5647">
          <p15:clr>
            <a:srgbClr val="F26B43"/>
          </p15:clr>
        </p15:guide>
        <p15:guide id="4" orient="horz" pos="3117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9130" y="307924"/>
            <a:ext cx="4957445" cy="6972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89584" y="1954783"/>
            <a:ext cx="11228705" cy="38315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7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26961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5000">
              <a:srgbClr val="3F3F3F"/>
            </a:gs>
            <a:gs pos="60000">
              <a:schemeClr val="accent4">
                <a:lumMod val="95000"/>
                <a:lumOff val="5000"/>
              </a:schemeClr>
            </a:gs>
            <a:gs pos="100000">
              <a:schemeClr val="accent4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AFD65C0-D14A-42AB-8214-0E21FF8C76A3}"/>
              </a:ext>
            </a:extLst>
          </p:cNvPr>
          <p:cNvSpPr/>
          <p:nvPr userDrawn="1"/>
        </p:nvSpPr>
        <p:spPr>
          <a:xfrm>
            <a:off x="407987" y="1341438"/>
            <a:ext cx="11376026" cy="4967280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39BBA4E4-9ED0-4AF1-97A2-1A44F92F48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341438"/>
            <a:ext cx="11376026" cy="5003800"/>
          </a:xfrm>
          <a:prstGeom prst="rect">
            <a:avLst/>
          </a:prstGeom>
          <a:noFill/>
          <a:ln>
            <a:noFill/>
          </a:ln>
        </p:spPr>
        <p:txBody>
          <a:bodyPr vert="horz" lIns="108000" tIns="108000" rIns="36000" bIns="0" rtlCol="0">
            <a:noAutofit/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93" imgH="493" progId="TCLayout.ActiveDocument.1">
                  <p:embed/>
                </p:oleObj>
              </mc:Choice>
              <mc:Fallback>
                <p:oleObj name="think-cell Slide" r:id="rId32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C6452B-5AE0-4A5D-A040-43B8C08EE5F2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00" b="0" i="0" baseline="0">
              <a:latin typeface="MTN Brighter Sans" panose="00000500000000000000" pitchFamily="2" charset="0"/>
              <a:ea typeface="+mj-ea"/>
              <a:cs typeface="+mj-cs"/>
              <a:sym typeface="MTN Brighter Sans" panose="000005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CDAD24-AED6-4DFA-A5A6-32C68C046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2105" y="225425"/>
            <a:ext cx="10306195" cy="49381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/>
              <a:t>Add title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7F0FE-092D-470C-BFCB-07BA9B3B8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19593" y="542711"/>
            <a:ext cx="297077" cy="174625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900" b="0">
                <a:solidFill>
                  <a:schemeClr val="accent1"/>
                </a:solidFill>
                <a:latin typeface="+mn-lt"/>
              </a:defRPr>
            </a:lvl1pPr>
          </a:lstStyle>
          <a:p>
            <a:fld id="{6C9EDA83-5074-4C24-8467-F331177C9D01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3" name="Rectangle 120">
            <a:extLst>
              <a:ext uri="{FF2B5EF4-FFF2-40B4-BE49-F238E27FC236}">
                <a16:creationId xmlns:a16="http://schemas.microsoft.com/office/drawing/2014/main" id="{3E27C80D-0A0E-4FDC-92C8-C7A31E0FB7D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094035"/>
            <a:ext cx="1722438" cy="444500"/>
          </a:xfrm>
          <a:prstGeom prst="rect">
            <a:avLst/>
          </a:prstGeom>
          <a:solidFill>
            <a:srgbClr val="E32E6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14" name="Rectangle 157">
            <a:extLst>
              <a:ext uri="{FF2B5EF4-FFF2-40B4-BE49-F238E27FC236}">
                <a16:creationId xmlns:a16="http://schemas.microsoft.com/office/drawing/2014/main" id="{297D2617-DDEA-451C-913D-E4423F95A42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6538535"/>
            <a:ext cx="1722438" cy="444500"/>
          </a:xfrm>
          <a:prstGeom prst="rect">
            <a:avLst/>
          </a:prstGeom>
          <a:solidFill>
            <a:srgbClr val="5A1F5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E8F805-FD75-43BE-9AB7-CF5E1E099589}"/>
              </a:ext>
            </a:extLst>
          </p:cNvPr>
          <p:cNvGrpSpPr/>
          <p:nvPr userDrawn="1"/>
        </p:nvGrpSpPr>
        <p:grpSpPr>
          <a:xfrm>
            <a:off x="-1841501" y="2444812"/>
            <a:ext cx="1722438" cy="1506233"/>
            <a:chOff x="-1841501" y="1798758"/>
            <a:chExt cx="1722438" cy="1506233"/>
          </a:xfrm>
        </p:grpSpPr>
        <p:sp>
          <p:nvSpPr>
            <p:cNvPr id="9" name="Rectangle 17">
              <a:extLst>
                <a:ext uri="{FF2B5EF4-FFF2-40B4-BE49-F238E27FC236}">
                  <a16:creationId xmlns:a16="http://schemas.microsoft.com/office/drawing/2014/main" id="{0DA67B7F-1FC7-44F7-B5A8-A2EE3AB148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407874"/>
              <a:ext cx="1722438" cy="288000"/>
            </a:xfrm>
            <a:prstGeom prst="rect">
              <a:avLst/>
            </a:prstGeom>
            <a:solidFill>
              <a:srgbClr val="0DB1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10" name="Rectangle 51">
              <a:extLst>
                <a:ext uri="{FF2B5EF4-FFF2-40B4-BE49-F238E27FC236}">
                  <a16:creationId xmlns:a16="http://schemas.microsoft.com/office/drawing/2014/main" id="{0FA83E02-FA21-484E-BF6A-0D3C50B243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103316"/>
              <a:ext cx="1722438" cy="288000"/>
            </a:xfrm>
            <a:prstGeom prst="rect">
              <a:avLst/>
            </a:prstGeom>
            <a:solidFill>
              <a:srgbClr val="0D69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12" name="Rectangle 86">
              <a:extLst>
                <a:ext uri="{FF2B5EF4-FFF2-40B4-BE49-F238E27FC236}">
                  <a16:creationId xmlns:a16="http://schemas.microsoft.com/office/drawing/2014/main" id="{D3CAA317-B940-4DC2-8FA2-C183F4606E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2712432"/>
              <a:ext cx="1722438" cy="288000"/>
            </a:xfrm>
            <a:prstGeom prst="rect">
              <a:avLst/>
            </a:prstGeom>
            <a:solidFill>
              <a:srgbClr val="60391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15" name="Rectangle 191">
              <a:extLst>
                <a:ext uri="{FF2B5EF4-FFF2-40B4-BE49-F238E27FC236}">
                  <a16:creationId xmlns:a16="http://schemas.microsoft.com/office/drawing/2014/main" id="{DFFAB319-EAFD-4266-AB22-D526360DA5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1798758"/>
              <a:ext cx="1722438" cy="288000"/>
            </a:xfrm>
            <a:prstGeom prst="rect">
              <a:avLst/>
            </a:prstGeom>
            <a:solidFill>
              <a:srgbClr val="F582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  <p:sp>
          <p:nvSpPr>
            <p:cNvPr id="16" name="Rectangle 229">
              <a:extLst>
                <a:ext uri="{FF2B5EF4-FFF2-40B4-BE49-F238E27FC236}">
                  <a16:creationId xmlns:a16="http://schemas.microsoft.com/office/drawing/2014/main" id="{5F6E213F-F507-496C-8B47-21817754C0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1841501" y="3016991"/>
              <a:ext cx="1722438" cy="288000"/>
            </a:xfrm>
            <a:prstGeom prst="rect">
              <a:avLst/>
            </a:prstGeom>
            <a:solidFill>
              <a:srgbClr val="3938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ZA"/>
            </a:p>
          </p:txBody>
        </p:sp>
      </p:grpSp>
      <p:sp>
        <p:nvSpPr>
          <p:cNvPr id="17" name="Rectangle 17">
            <a:extLst>
              <a:ext uri="{FF2B5EF4-FFF2-40B4-BE49-F238E27FC236}">
                <a16:creationId xmlns:a16="http://schemas.microsoft.com/office/drawing/2014/main" id="{C48040CE-446A-42F6-A593-EFD73D33DCE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1363522"/>
            <a:ext cx="1722438" cy="288000"/>
          </a:xfrm>
          <a:prstGeom prst="rect">
            <a:avLst/>
          </a:prstGeom>
          <a:solidFill>
            <a:srgbClr val="3DC16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19" name="Rectangle 51">
            <a:extLst>
              <a:ext uri="{FF2B5EF4-FFF2-40B4-BE49-F238E27FC236}">
                <a16:creationId xmlns:a16="http://schemas.microsoft.com/office/drawing/2014/main" id="{B7A6B1CA-9FDF-421D-8F78-D0BD24847B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1060958"/>
            <a:ext cx="1722438" cy="288000"/>
          </a:xfrm>
          <a:prstGeom prst="rect">
            <a:avLst/>
          </a:prstGeom>
          <a:solidFill>
            <a:srgbClr val="3D87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20" name="Rectangle 86">
            <a:extLst>
              <a:ext uri="{FF2B5EF4-FFF2-40B4-BE49-F238E27FC236}">
                <a16:creationId xmlns:a16="http://schemas.microsoft.com/office/drawing/2014/main" id="{980E4B02-27D1-4F66-979E-03CD57E2728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1666087"/>
            <a:ext cx="1722438" cy="288000"/>
          </a:xfrm>
          <a:prstGeom prst="rect">
            <a:avLst/>
          </a:prstGeom>
          <a:solidFill>
            <a:srgbClr val="80614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24" name="Rectangle 191">
            <a:extLst>
              <a:ext uri="{FF2B5EF4-FFF2-40B4-BE49-F238E27FC236}">
                <a16:creationId xmlns:a16="http://schemas.microsoft.com/office/drawing/2014/main" id="{61AB7368-4E8A-41CB-8E66-77312B94EAF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758394"/>
            <a:ext cx="1722438" cy="288000"/>
          </a:xfrm>
          <a:prstGeom prst="rect">
            <a:avLst/>
          </a:prstGeom>
          <a:solidFill>
            <a:srgbClr val="F79B4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25" name="Rectangle 229">
            <a:extLst>
              <a:ext uri="{FF2B5EF4-FFF2-40B4-BE49-F238E27FC236}">
                <a16:creationId xmlns:a16="http://schemas.microsoft.com/office/drawing/2014/main" id="{34A0F630-E9DA-475C-98CA-0C80890FC17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1968652"/>
            <a:ext cx="1722438" cy="288000"/>
          </a:xfrm>
          <a:prstGeom prst="rect">
            <a:avLst/>
          </a:prstGeom>
          <a:solidFill>
            <a:srgbClr val="61606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30" name="Rectangle 17">
            <a:extLst>
              <a:ext uri="{FF2B5EF4-FFF2-40B4-BE49-F238E27FC236}">
                <a16:creationId xmlns:a16="http://schemas.microsoft.com/office/drawing/2014/main" id="{799B0369-53DC-4AD2-9F54-8BACBD020A2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856673"/>
            <a:ext cx="1722438" cy="288000"/>
          </a:xfrm>
          <a:prstGeom prst="rect">
            <a:avLst/>
          </a:prstGeom>
          <a:solidFill>
            <a:srgbClr val="D8F3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31" name="Rectangle 51">
            <a:extLst>
              <a:ext uri="{FF2B5EF4-FFF2-40B4-BE49-F238E27FC236}">
                <a16:creationId xmlns:a16="http://schemas.microsoft.com/office/drawing/2014/main" id="{7CC16068-49C6-4F9C-8749-EFEA7F89AAF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554109"/>
            <a:ext cx="1722438" cy="288000"/>
          </a:xfrm>
          <a:prstGeom prst="rect">
            <a:avLst/>
          </a:prstGeom>
          <a:solidFill>
            <a:srgbClr val="CCE1E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32" name="Rectangle 86">
            <a:extLst>
              <a:ext uri="{FF2B5EF4-FFF2-40B4-BE49-F238E27FC236}">
                <a16:creationId xmlns:a16="http://schemas.microsoft.com/office/drawing/2014/main" id="{DFA11971-7970-4E46-8730-E0429E40180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5159238"/>
            <a:ext cx="1722438" cy="288000"/>
          </a:xfrm>
          <a:prstGeom prst="rect">
            <a:avLst/>
          </a:prstGeom>
          <a:solidFill>
            <a:srgbClr val="FFCCC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33" name="Rectangle 191">
            <a:extLst>
              <a:ext uri="{FF2B5EF4-FFF2-40B4-BE49-F238E27FC236}">
                <a16:creationId xmlns:a16="http://schemas.microsoft.com/office/drawing/2014/main" id="{2829D592-E23D-478E-8CED-0059219146F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4251545"/>
            <a:ext cx="1722438" cy="288000"/>
          </a:xfrm>
          <a:prstGeom prst="rect">
            <a:avLst/>
          </a:prstGeom>
          <a:solidFill>
            <a:srgbClr val="FFF5C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26" name="Rectangle 191">
            <a:extLst>
              <a:ext uri="{FF2B5EF4-FFF2-40B4-BE49-F238E27FC236}">
                <a16:creationId xmlns:a16="http://schemas.microsoft.com/office/drawing/2014/main" id="{49F07F71-3E46-40DC-BC5C-16A0D429A5E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1841501" y="5493733"/>
            <a:ext cx="1722438" cy="257434"/>
          </a:xfrm>
          <a:prstGeom prst="rect">
            <a:avLst/>
          </a:prstGeom>
          <a:solidFill>
            <a:srgbClr val="FDE6D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ZA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1800532-5D4F-4E00-8ECD-942478471E79}"/>
              </a:ext>
            </a:extLst>
          </p:cNvPr>
          <p:cNvSpPr/>
          <p:nvPr userDrawn="1"/>
        </p:nvSpPr>
        <p:spPr>
          <a:xfrm>
            <a:off x="0" y="-732512"/>
            <a:ext cx="1103586" cy="599090"/>
          </a:xfrm>
          <a:prstGeom prst="rect">
            <a:avLst/>
          </a:prstGeom>
          <a:solidFill>
            <a:srgbClr val="F5821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F33364A-FE0E-47CF-A804-D2556C458AEC}"/>
              </a:ext>
            </a:extLst>
          </p:cNvPr>
          <p:cNvSpPr/>
          <p:nvPr userDrawn="1"/>
        </p:nvSpPr>
        <p:spPr>
          <a:xfrm>
            <a:off x="1224455" y="-732512"/>
            <a:ext cx="1103586" cy="599090"/>
          </a:xfrm>
          <a:prstGeom prst="rect">
            <a:avLst/>
          </a:prstGeom>
          <a:solidFill>
            <a:srgbClr val="E12D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52DF998-FE2B-42B7-8483-D97940AC622D}"/>
              </a:ext>
            </a:extLst>
          </p:cNvPr>
          <p:cNvSpPr/>
          <p:nvPr userDrawn="1"/>
        </p:nvSpPr>
        <p:spPr>
          <a:xfrm>
            <a:off x="2448910" y="-740843"/>
            <a:ext cx="1103586" cy="599090"/>
          </a:xfrm>
          <a:prstGeom prst="rect">
            <a:avLst/>
          </a:prstGeom>
          <a:solidFill>
            <a:srgbClr val="5A1E5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E7A5630-526C-455B-B5A0-5E258AC52B35}"/>
              </a:ext>
            </a:extLst>
          </p:cNvPr>
          <p:cNvSpPr/>
          <p:nvPr userDrawn="1"/>
        </p:nvSpPr>
        <p:spPr>
          <a:xfrm>
            <a:off x="3673365" y="-740843"/>
            <a:ext cx="1103586" cy="599090"/>
          </a:xfrm>
          <a:prstGeom prst="rect">
            <a:avLst/>
          </a:prstGeom>
          <a:solidFill>
            <a:srgbClr val="0FAF4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TN Brighter Sans Light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FF401A7-46BC-4B29-91F6-2976065D1F82}"/>
              </a:ext>
            </a:extLst>
          </p:cNvPr>
          <p:cNvSpPr/>
          <p:nvPr userDrawn="1"/>
        </p:nvSpPr>
        <p:spPr>
          <a:xfrm>
            <a:off x="-1841501" y="118609"/>
            <a:ext cx="1722438" cy="493811"/>
          </a:xfrm>
          <a:prstGeom prst="rect">
            <a:avLst/>
          </a:prstGeom>
          <a:solidFill>
            <a:srgbClr val="404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D55E386-4B15-4893-926D-EFCF95BD1576}"/>
              </a:ext>
            </a:extLst>
          </p:cNvPr>
          <p:cNvGrpSpPr/>
          <p:nvPr userDrawn="1"/>
        </p:nvGrpSpPr>
        <p:grpSpPr>
          <a:xfrm>
            <a:off x="407987" y="253488"/>
            <a:ext cx="926055" cy="446058"/>
            <a:chOff x="11045825" y="379685"/>
            <a:chExt cx="727710" cy="350520"/>
          </a:xfrm>
        </p:grpSpPr>
        <p:grpSp>
          <p:nvGrpSpPr>
            <p:cNvPr id="23" name="Graphic 20">
              <a:extLst>
                <a:ext uri="{FF2B5EF4-FFF2-40B4-BE49-F238E27FC236}">
                  <a16:creationId xmlns:a16="http://schemas.microsoft.com/office/drawing/2014/main" id="{258128B5-7F38-48F2-8F91-55FDBB3655B8}"/>
                </a:ext>
              </a:extLst>
            </p:cNvPr>
            <p:cNvGrpSpPr/>
            <p:nvPr/>
          </p:nvGrpSpPr>
          <p:grpSpPr>
            <a:xfrm>
              <a:off x="11219180" y="486365"/>
              <a:ext cx="381952" cy="125729"/>
              <a:chOff x="11219180" y="459203"/>
              <a:chExt cx="381952" cy="125729"/>
            </a:xfrm>
            <a:solidFill>
              <a:schemeClr val="tx1"/>
            </a:solidFill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0BE89779-1A1B-48FE-9018-E272AAFD6600}"/>
                  </a:ext>
                </a:extLst>
              </p:cNvPr>
              <p:cNvSpPr/>
              <p:nvPr/>
            </p:nvSpPr>
            <p:spPr>
              <a:xfrm>
                <a:off x="11219180" y="459203"/>
                <a:ext cx="124777" cy="125729"/>
              </a:xfrm>
              <a:custGeom>
                <a:avLst/>
                <a:gdLst>
                  <a:gd name="connsiteX0" fmla="*/ 124777 w 124777"/>
                  <a:gd name="connsiteY0" fmla="*/ 0 h 125729"/>
                  <a:gd name="connsiteX1" fmla="*/ 124777 w 124777"/>
                  <a:gd name="connsiteY1" fmla="*/ 125730 h 125729"/>
                  <a:gd name="connsiteX2" fmla="*/ 92392 w 124777"/>
                  <a:gd name="connsiteY2" fmla="*/ 125730 h 125729"/>
                  <a:gd name="connsiteX3" fmla="*/ 92392 w 124777"/>
                  <a:gd name="connsiteY3" fmla="*/ 55245 h 125729"/>
                  <a:gd name="connsiteX4" fmla="*/ 70485 w 124777"/>
                  <a:gd name="connsiteY4" fmla="*/ 89535 h 125729"/>
                  <a:gd name="connsiteX5" fmla="*/ 53340 w 124777"/>
                  <a:gd name="connsiteY5" fmla="*/ 89535 h 125729"/>
                  <a:gd name="connsiteX6" fmla="*/ 29527 w 124777"/>
                  <a:gd name="connsiteY6" fmla="*/ 55245 h 125729"/>
                  <a:gd name="connsiteX7" fmla="*/ 29527 w 124777"/>
                  <a:gd name="connsiteY7" fmla="*/ 125730 h 125729"/>
                  <a:gd name="connsiteX8" fmla="*/ 0 w 124777"/>
                  <a:gd name="connsiteY8" fmla="*/ 125730 h 125729"/>
                  <a:gd name="connsiteX9" fmla="*/ 0 w 124777"/>
                  <a:gd name="connsiteY9" fmla="*/ 0 h 125729"/>
                  <a:gd name="connsiteX10" fmla="*/ 30480 w 124777"/>
                  <a:gd name="connsiteY10" fmla="*/ 0 h 125729"/>
                  <a:gd name="connsiteX11" fmla="*/ 64770 w 124777"/>
                  <a:gd name="connsiteY11" fmla="*/ 49530 h 125729"/>
                  <a:gd name="connsiteX12" fmla="*/ 95250 w 124777"/>
                  <a:gd name="connsiteY12" fmla="*/ 0 h 125729"/>
                  <a:gd name="connsiteX13" fmla="*/ 124777 w 124777"/>
                  <a:gd name="connsiteY13" fmla="*/ 0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4777" h="125729">
                    <a:moveTo>
                      <a:pt x="124777" y="0"/>
                    </a:moveTo>
                    <a:lnTo>
                      <a:pt x="124777" y="125730"/>
                    </a:lnTo>
                    <a:lnTo>
                      <a:pt x="92392" y="125730"/>
                    </a:lnTo>
                    <a:lnTo>
                      <a:pt x="92392" y="55245"/>
                    </a:lnTo>
                    <a:lnTo>
                      <a:pt x="70485" y="89535"/>
                    </a:lnTo>
                    <a:lnTo>
                      <a:pt x="53340" y="89535"/>
                    </a:lnTo>
                    <a:lnTo>
                      <a:pt x="29527" y="55245"/>
                    </a:lnTo>
                    <a:lnTo>
                      <a:pt x="29527" y="125730"/>
                    </a:lnTo>
                    <a:lnTo>
                      <a:pt x="0" y="125730"/>
                    </a:lnTo>
                    <a:lnTo>
                      <a:pt x="0" y="0"/>
                    </a:lnTo>
                    <a:lnTo>
                      <a:pt x="30480" y="0"/>
                    </a:lnTo>
                    <a:lnTo>
                      <a:pt x="64770" y="49530"/>
                    </a:lnTo>
                    <a:lnTo>
                      <a:pt x="95250" y="0"/>
                    </a:lnTo>
                    <a:lnTo>
                      <a:pt x="124777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4A6CFCAC-143F-4664-AD06-460C5AA904DA}"/>
                  </a:ext>
                </a:extLst>
              </p:cNvPr>
              <p:cNvSpPr/>
              <p:nvPr/>
            </p:nvSpPr>
            <p:spPr>
              <a:xfrm>
                <a:off x="11360150" y="459203"/>
                <a:ext cx="111442" cy="125729"/>
              </a:xfrm>
              <a:custGeom>
                <a:avLst/>
                <a:gdLst>
                  <a:gd name="connsiteX0" fmla="*/ 0 w 111442"/>
                  <a:gd name="connsiteY0" fmla="*/ 28575 h 125729"/>
                  <a:gd name="connsiteX1" fmla="*/ 0 w 111442"/>
                  <a:gd name="connsiteY1" fmla="*/ 0 h 125729"/>
                  <a:gd name="connsiteX2" fmla="*/ 111443 w 111442"/>
                  <a:gd name="connsiteY2" fmla="*/ 0 h 125729"/>
                  <a:gd name="connsiteX3" fmla="*/ 111443 w 111442"/>
                  <a:gd name="connsiteY3" fmla="*/ 28575 h 125729"/>
                  <a:gd name="connsiteX4" fmla="*/ 72390 w 111442"/>
                  <a:gd name="connsiteY4" fmla="*/ 28575 h 125729"/>
                  <a:gd name="connsiteX5" fmla="*/ 72390 w 111442"/>
                  <a:gd name="connsiteY5" fmla="*/ 125730 h 125729"/>
                  <a:gd name="connsiteX6" fmla="*/ 39052 w 111442"/>
                  <a:gd name="connsiteY6" fmla="*/ 125730 h 125729"/>
                  <a:gd name="connsiteX7" fmla="*/ 39052 w 111442"/>
                  <a:gd name="connsiteY7" fmla="*/ 28575 h 125729"/>
                  <a:gd name="connsiteX8" fmla="*/ 0 w 111442"/>
                  <a:gd name="connsiteY8" fmla="*/ 28575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442" h="125729">
                    <a:moveTo>
                      <a:pt x="0" y="28575"/>
                    </a:moveTo>
                    <a:lnTo>
                      <a:pt x="0" y="0"/>
                    </a:lnTo>
                    <a:lnTo>
                      <a:pt x="111443" y="0"/>
                    </a:lnTo>
                    <a:lnTo>
                      <a:pt x="111443" y="28575"/>
                    </a:lnTo>
                    <a:lnTo>
                      <a:pt x="72390" y="28575"/>
                    </a:lnTo>
                    <a:lnTo>
                      <a:pt x="72390" y="125730"/>
                    </a:lnTo>
                    <a:lnTo>
                      <a:pt x="39052" y="125730"/>
                    </a:lnTo>
                    <a:lnTo>
                      <a:pt x="39052" y="28575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C0B41DB-8B42-41FB-85CA-CEF953A10988}"/>
                  </a:ext>
                </a:extLst>
              </p:cNvPr>
              <p:cNvSpPr/>
              <p:nvPr/>
            </p:nvSpPr>
            <p:spPr>
              <a:xfrm>
                <a:off x="11487785" y="459203"/>
                <a:ext cx="113347" cy="125729"/>
              </a:xfrm>
              <a:custGeom>
                <a:avLst/>
                <a:gdLst>
                  <a:gd name="connsiteX0" fmla="*/ 113347 w 113347"/>
                  <a:gd name="connsiteY0" fmla="*/ 0 h 125729"/>
                  <a:gd name="connsiteX1" fmla="*/ 113347 w 113347"/>
                  <a:gd name="connsiteY1" fmla="*/ 125730 h 125729"/>
                  <a:gd name="connsiteX2" fmla="*/ 85725 w 113347"/>
                  <a:gd name="connsiteY2" fmla="*/ 125730 h 125729"/>
                  <a:gd name="connsiteX3" fmla="*/ 29527 w 113347"/>
                  <a:gd name="connsiteY3" fmla="*/ 54293 h 125729"/>
                  <a:gd name="connsiteX4" fmla="*/ 29527 w 113347"/>
                  <a:gd name="connsiteY4" fmla="*/ 125730 h 125729"/>
                  <a:gd name="connsiteX5" fmla="*/ 0 w 113347"/>
                  <a:gd name="connsiteY5" fmla="*/ 125730 h 125729"/>
                  <a:gd name="connsiteX6" fmla="*/ 0 w 113347"/>
                  <a:gd name="connsiteY6" fmla="*/ 0 h 125729"/>
                  <a:gd name="connsiteX7" fmla="*/ 29527 w 113347"/>
                  <a:gd name="connsiteY7" fmla="*/ 0 h 125729"/>
                  <a:gd name="connsiteX8" fmla="*/ 82867 w 113347"/>
                  <a:gd name="connsiteY8" fmla="*/ 69533 h 125729"/>
                  <a:gd name="connsiteX9" fmla="*/ 82867 w 113347"/>
                  <a:gd name="connsiteY9" fmla="*/ 0 h 125729"/>
                  <a:gd name="connsiteX10" fmla="*/ 113347 w 113347"/>
                  <a:gd name="connsiteY10" fmla="*/ 0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3347" h="125729">
                    <a:moveTo>
                      <a:pt x="113347" y="0"/>
                    </a:moveTo>
                    <a:lnTo>
                      <a:pt x="113347" y="125730"/>
                    </a:lnTo>
                    <a:lnTo>
                      <a:pt x="85725" y="125730"/>
                    </a:lnTo>
                    <a:lnTo>
                      <a:pt x="29527" y="54293"/>
                    </a:lnTo>
                    <a:lnTo>
                      <a:pt x="29527" y="125730"/>
                    </a:lnTo>
                    <a:lnTo>
                      <a:pt x="0" y="125730"/>
                    </a:lnTo>
                    <a:lnTo>
                      <a:pt x="0" y="0"/>
                    </a:lnTo>
                    <a:lnTo>
                      <a:pt x="29527" y="0"/>
                    </a:lnTo>
                    <a:lnTo>
                      <a:pt x="82867" y="69533"/>
                    </a:lnTo>
                    <a:lnTo>
                      <a:pt x="82867" y="0"/>
                    </a:lnTo>
                    <a:lnTo>
                      <a:pt x="113347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ZA"/>
              </a:p>
            </p:txBody>
          </p:sp>
        </p:grp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34EE3C49-EE72-4671-AC16-EED2598F46C6}"/>
                </a:ext>
              </a:extLst>
            </p:cNvPr>
            <p:cNvSpPr/>
            <p:nvPr/>
          </p:nvSpPr>
          <p:spPr>
            <a:xfrm>
              <a:off x="11045825" y="379685"/>
              <a:ext cx="727710" cy="350520"/>
            </a:xfrm>
            <a:custGeom>
              <a:avLst/>
              <a:gdLst>
                <a:gd name="connsiteX0" fmla="*/ 727710 w 727710"/>
                <a:gd name="connsiteY0" fmla="*/ 175260 h 350520"/>
                <a:gd name="connsiteX1" fmla="*/ 363855 w 727710"/>
                <a:gd name="connsiteY1" fmla="*/ 350520 h 350520"/>
                <a:gd name="connsiteX2" fmla="*/ 0 w 727710"/>
                <a:gd name="connsiteY2" fmla="*/ 175260 h 350520"/>
                <a:gd name="connsiteX3" fmla="*/ 363855 w 727710"/>
                <a:gd name="connsiteY3" fmla="*/ 0 h 350520"/>
                <a:gd name="connsiteX4" fmla="*/ 727710 w 727710"/>
                <a:gd name="connsiteY4" fmla="*/ 175260 h 350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7710" h="350520">
                  <a:moveTo>
                    <a:pt x="727710" y="175260"/>
                  </a:moveTo>
                  <a:cubicBezTo>
                    <a:pt x="727710" y="272053"/>
                    <a:pt x="564807" y="350520"/>
                    <a:pt x="363855" y="350520"/>
                  </a:cubicBezTo>
                  <a:cubicBezTo>
                    <a:pt x="162903" y="350520"/>
                    <a:pt x="0" y="272053"/>
                    <a:pt x="0" y="175260"/>
                  </a:cubicBezTo>
                  <a:cubicBezTo>
                    <a:pt x="0" y="78467"/>
                    <a:pt x="162903" y="0"/>
                    <a:pt x="363855" y="0"/>
                  </a:cubicBezTo>
                  <a:cubicBezTo>
                    <a:pt x="564807" y="0"/>
                    <a:pt x="727710" y="78467"/>
                    <a:pt x="727710" y="175260"/>
                  </a:cubicBezTo>
                  <a:close/>
                </a:path>
              </a:pathLst>
            </a:custGeom>
            <a:noFill/>
            <a:ln w="285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1EEDDB4-1BEC-465A-97D3-C1444EF9776C}"/>
              </a:ext>
            </a:extLst>
          </p:cNvPr>
          <p:cNvCxnSpPr>
            <a:cxnSpLocks/>
          </p:cNvCxnSpPr>
          <p:nvPr userDrawn="1"/>
        </p:nvCxnSpPr>
        <p:spPr>
          <a:xfrm>
            <a:off x="1492105" y="710000"/>
            <a:ext cx="10291908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9C6345E-9CE0-4A27-AB9E-01FC71B5075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36080"/>
            <a:ext cx="162242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ZA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MTN South Africa - Internal</a:t>
            </a:r>
          </a:p>
        </p:txBody>
      </p:sp>
    </p:spTree>
    <p:extLst>
      <p:ext uri="{BB962C8B-B14F-4D97-AF65-F5344CB8AC3E}">
        <p14:creationId xmlns:p14="http://schemas.microsoft.com/office/powerpoint/2010/main" val="470849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5" r:id="rId17"/>
    <p:sldLayoutId id="2147483876" r:id="rId18"/>
    <p:sldLayoutId id="2147483877" r:id="rId19"/>
    <p:sldLayoutId id="2147483878" r:id="rId20"/>
    <p:sldLayoutId id="2147483879" r:id="rId21"/>
    <p:sldLayoutId id="2147483880" r:id="rId22"/>
    <p:sldLayoutId id="2147483881" r:id="rId23"/>
    <p:sldLayoutId id="2147483882" r:id="rId24"/>
    <p:sldLayoutId id="2147483883" r:id="rId25"/>
    <p:sldLayoutId id="2147483884" r:id="rId26"/>
    <p:sldLayoutId id="2147483885" r:id="rId27"/>
    <p:sldLayoutId id="2147483886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52400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22263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93713" indent="-161925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54050" indent="-16033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15975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pos="3953">
          <p15:clr>
            <a:srgbClr val="F26B43"/>
          </p15:clr>
        </p15:guide>
        <p15:guide id="6" pos="3840">
          <p15:clr>
            <a:srgbClr val="F26B43"/>
          </p15:clr>
        </p15:guide>
        <p15:guide id="7" orient="horz" pos="3997">
          <p15:clr>
            <a:srgbClr val="F26B43"/>
          </p15:clr>
        </p15:guide>
        <p15:guide id="9" orient="horz" pos="845">
          <p15:clr>
            <a:srgbClr val="F26B43"/>
          </p15:clr>
        </p15:guide>
        <p15:guide id="10" pos="372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387751-5E0D-7194-0EF6-823590195F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96CB22-C16F-914A-C951-275E209877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E8AECB-E2CF-C087-C9E2-544F9C10AF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25ACBA-AFB0-A549-834F-A6B756FEBAB6}" type="datetimeFigureOut">
              <a:rPr lang="en-GB" smtClean="0"/>
              <a:t>27/02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76931C-0BC8-B5F4-EB91-CBC259AF52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7F965A-AEE2-C869-B2EB-400F88C404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FE5460-627F-EC41-84ED-54B5B04510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3812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4.jp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3" Type="http://schemas.openxmlformats.org/officeDocument/2006/relationships/image" Target="../media/image51.svg"/><Relationship Id="rId7" Type="http://schemas.openxmlformats.org/officeDocument/2006/relationships/image" Target="../media/image55.png"/><Relationship Id="rId12" Type="http://schemas.openxmlformats.org/officeDocument/2006/relationships/image" Target="../media/image60.svg"/><Relationship Id="rId2" Type="http://schemas.openxmlformats.org/officeDocument/2006/relationships/image" Target="../media/image50.png"/><Relationship Id="rId16" Type="http://schemas.openxmlformats.org/officeDocument/2006/relationships/image" Target="../media/image64.sv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svg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2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wmf"/><Relationship Id="rId2" Type="http://schemas.openxmlformats.org/officeDocument/2006/relationships/oleObject" Target="../embeddings/oleObject26.bin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hyperlink" Target="https://www.sarugby.co.za/news-features/articles/2022/11/25/boksquad-wins-big-at-south-african-sport-industry-awards/" TargetMode="External"/><Relationship Id="rId1" Type="http://schemas.openxmlformats.org/officeDocument/2006/relationships/slideLayout" Target="../slideLayouts/slideLayout130.xml"/><Relationship Id="rId4" Type="http://schemas.openxmlformats.org/officeDocument/2006/relationships/image" Target="../media/image4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g"/><Relationship Id="rId7" Type="http://schemas.openxmlformats.org/officeDocument/2006/relationships/image" Target="../media/image76.jpg"/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5.jpg"/><Relationship Id="rId5" Type="http://schemas.openxmlformats.org/officeDocument/2006/relationships/image" Target="../media/image74.jpg"/><Relationship Id="rId4" Type="http://schemas.openxmlformats.org/officeDocument/2006/relationships/image" Target="../media/image73.jp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sv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OV"/><Relationship Id="rId2" Type="http://schemas.microsoft.com/office/2007/relationships/media" Target="../media/media1.MOV"/><Relationship Id="rId1" Type="http://schemas.openxmlformats.org/officeDocument/2006/relationships/video" Target="https://www.youtube.com/embed/eGjM-4rY5gE?feature=oembed" TargetMode="External"/><Relationship Id="rId6" Type="http://schemas.openxmlformats.org/officeDocument/2006/relationships/image" Target="../media/image82.png"/><Relationship Id="rId5" Type="http://schemas.openxmlformats.org/officeDocument/2006/relationships/image" Target="../media/image81.jpeg"/><Relationship Id="rId4" Type="http://schemas.openxmlformats.org/officeDocument/2006/relationships/slideLayout" Target="../slideLayouts/slideLayout10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4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media" Target="../media/media3.mp4"/><Relationship Id="rId7" Type="http://schemas.openxmlformats.org/officeDocument/2006/relationships/image" Target="../media/image84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83.png"/><Relationship Id="rId5" Type="http://schemas.openxmlformats.org/officeDocument/2006/relationships/slideLayout" Target="../slideLayouts/slideLayout107.xml"/><Relationship Id="rId4" Type="http://schemas.openxmlformats.org/officeDocument/2006/relationships/video" Target="../media/media3.mp4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0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07.xml"/><Relationship Id="rId4" Type="http://schemas.openxmlformats.org/officeDocument/2006/relationships/image" Target="../media/image8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0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0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gif"/><Relationship Id="rId7" Type="http://schemas.openxmlformats.org/officeDocument/2006/relationships/image" Target="../media/image98.png"/><Relationship Id="rId2" Type="http://schemas.openxmlformats.org/officeDocument/2006/relationships/image" Target="../media/image93.gif"/><Relationship Id="rId1" Type="http://schemas.openxmlformats.org/officeDocument/2006/relationships/slideLayout" Target="../slideLayouts/slideLayout107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gi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cebook.com/watch/?v=642683450611426" TargetMode="External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07.xml"/><Relationship Id="rId6" Type="http://schemas.openxmlformats.org/officeDocument/2006/relationships/hyperlink" Target="https://www.facebook.com/watch/?v=1112560719612413" TargetMode="External"/><Relationship Id="rId5" Type="http://schemas.openxmlformats.org/officeDocument/2006/relationships/image" Target="../media/image101.png"/><Relationship Id="rId4" Type="http://schemas.openxmlformats.org/officeDocument/2006/relationships/hyperlink" Target="https://twitter.com/MTN_Rugby/status/1563375780385931271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7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4" Type="http://schemas.openxmlformats.org/officeDocument/2006/relationships/image" Target="../media/image10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44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arugby.co.za/news-features/articles/2022/07/01/bok-bomb-squad-morphs-into-a-digital-boksquad-for-fans/" TargetMode="External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" name="TextBox 7"/>
          <p:cNvSpPr txBox="1"/>
          <p:nvPr/>
        </p:nvSpPr>
        <p:spPr>
          <a:xfrm>
            <a:off x="201022" y="3612697"/>
            <a:ext cx="12042715" cy="16312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lnSpc>
                <a:spcPct val="70000"/>
              </a:lnSpc>
              <a:defRPr sz="8000">
                <a:solidFill>
                  <a:srgbClr val="F7CF47"/>
                </a:solidFill>
                <a:latin typeface="MTN Brighter Sans ExtraBold"/>
                <a:ea typeface="MTN Brighter Sans ExtraBold"/>
                <a:cs typeface="MTN Brighter Sans ExtraBold"/>
                <a:sym typeface="MTN Brighter Sans ExtraBold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7CF47"/>
                </a:solidFill>
                <a:effectLst/>
                <a:uLnTx/>
                <a:uFillTx/>
                <a:latin typeface="MTN Brighter Sans ExtraBold"/>
                <a:sym typeface="MTN Brighter Sans ExtraBold"/>
              </a:rPr>
              <a:t>MTN 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MTN Brighter Sans ExtraBold"/>
                <a:sym typeface="MTN Brighter Sans ExtraBold"/>
              </a:rPr>
              <a:t>SPRINGBOKS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7CF47"/>
                </a:solidFill>
                <a:effectLst/>
                <a:uLnTx/>
                <a:uFillTx/>
                <a:latin typeface="MTN Brighter Sans ExtraBold"/>
                <a:sym typeface="MTN Brighter Sans ExtraBold"/>
              </a:rPr>
              <a:t> 2022 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kern="0" dirty="0"/>
              <a:t>DEBRIEF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7CF47"/>
                </a:solidFill>
                <a:effectLst/>
                <a:uLnTx/>
                <a:uFillTx/>
                <a:latin typeface="MTN Brighter Sans ExtraBold"/>
                <a:sym typeface="MTN Brighter Sans ExtraBold"/>
              </a:rPr>
              <a:t>October 2022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F7CF47"/>
              </a:solidFill>
              <a:effectLst/>
              <a:uLnTx/>
              <a:uFillTx/>
              <a:latin typeface="MTN Brighter Sans ExtraBold"/>
              <a:sym typeface="MTN Brighter Sans ExtraBold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B7BD989-9AD7-A661-0357-6B91C91C2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20491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1D9D341B-D1D2-6C67-7644-CEC8F04164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022" y="133899"/>
            <a:ext cx="1980117" cy="167244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C4F7269-3B1A-0C30-4245-856F83759B24}"/>
              </a:ext>
            </a:extLst>
          </p:cNvPr>
          <p:cNvSpPr/>
          <p:nvPr/>
        </p:nvSpPr>
        <p:spPr>
          <a:xfrm>
            <a:off x="19409" y="4647916"/>
            <a:ext cx="12204917" cy="1614091"/>
          </a:xfrm>
          <a:prstGeom prst="rect">
            <a:avLst/>
          </a:prstGeom>
          <a:solidFill>
            <a:srgbClr val="FFCB05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B658CE1-3518-012C-5153-D6E50CE62F92}"/>
              </a:ext>
            </a:extLst>
          </p:cNvPr>
          <p:cNvSpPr txBox="1"/>
          <p:nvPr/>
        </p:nvSpPr>
        <p:spPr>
          <a:xfrm>
            <a:off x="220432" y="4875571"/>
            <a:ext cx="11772677" cy="11127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2069" algn="ctr">
              <a:lnSpc>
                <a:spcPts val="3990"/>
              </a:lnSpc>
            </a:pPr>
            <a:r>
              <a:rPr lang="en-US" sz="4400" b="1" dirty="0">
                <a:latin typeface="MTN Brighter Sans ExtraBold" pitchFamily="2" charset="77"/>
                <a:cs typeface="Calibri"/>
              </a:rPr>
              <a:t>“The</a:t>
            </a:r>
            <a:r>
              <a:rPr lang="en-US" sz="4400" b="1" spc="-105" dirty="0">
                <a:latin typeface="MTN Brighter Sans ExtraBold" pitchFamily="2" charset="77"/>
                <a:cs typeface="Calibri"/>
              </a:rPr>
              <a:t> H</a:t>
            </a:r>
            <a:r>
              <a:rPr lang="en-US" sz="4400" b="1" dirty="0">
                <a:latin typeface="MTN Brighter Sans ExtraBold" pitchFamily="2" charset="77"/>
                <a:cs typeface="Calibri"/>
              </a:rPr>
              <a:t>ome</a:t>
            </a:r>
            <a:r>
              <a:rPr lang="en-US" sz="4400" b="1" spc="-130" dirty="0">
                <a:latin typeface="MTN Brighter Sans ExtraBold" pitchFamily="2" charset="77"/>
                <a:cs typeface="Calibri"/>
              </a:rPr>
              <a:t> of Springbok</a:t>
            </a:r>
            <a:r>
              <a:rPr lang="en-US" sz="4400" b="1" spc="-80" dirty="0">
                <a:latin typeface="MTN Brighter Sans ExtraBold" pitchFamily="2" charset="77"/>
                <a:cs typeface="Calibri"/>
              </a:rPr>
              <a:t> F</a:t>
            </a:r>
            <a:r>
              <a:rPr lang="en-US" sz="4400" b="1" dirty="0">
                <a:latin typeface="MTN Brighter Sans ExtraBold" pitchFamily="2" charset="77"/>
                <a:cs typeface="Calibri"/>
              </a:rPr>
              <a:t>ans</a:t>
            </a:r>
            <a:r>
              <a:rPr lang="en-US" sz="4400" b="1" spc="-70" dirty="0">
                <a:latin typeface="MTN Brighter Sans ExtraBold" pitchFamily="2" charset="77"/>
                <a:cs typeface="Calibri"/>
              </a:rPr>
              <a:t>”</a:t>
            </a:r>
          </a:p>
          <a:p>
            <a:pPr marL="52069" algn="ctr">
              <a:lnSpc>
                <a:spcPts val="3990"/>
              </a:lnSpc>
            </a:pPr>
            <a:r>
              <a:rPr lang="en-US" sz="2800" b="1" dirty="0">
                <a:latin typeface="MTN Brighter Sans ExtraBold" pitchFamily="2" charset="77"/>
                <a:cs typeface="Calibri"/>
              </a:rPr>
              <a:t>Built</a:t>
            </a:r>
            <a:r>
              <a:rPr lang="en-US" sz="2800" b="1" spc="-120" dirty="0">
                <a:latin typeface="MTN Brighter Sans ExtraBold" pitchFamily="2" charset="77"/>
                <a:cs typeface="Calibri"/>
              </a:rPr>
              <a:t> </a:t>
            </a:r>
            <a:r>
              <a:rPr lang="en-US" sz="2800" b="1" dirty="0">
                <a:latin typeface="MTN Brighter Sans ExtraBold" pitchFamily="2" charset="77"/>
                <a:cs typeface="Calibri"/>
              </a:rPr>
              <a:t>for</a:t>
            </a:r>
            <a:r>
              <a:rPr lang="en-US" sz="2800" b="1" spc="-95" dirty="0">
                <a:latin typeface="MTN Brighter Sans ExtraBold" pitchFamily="2" charset="77"/>
                <a:cs typeface="Calibri"/>
              </a:rPr>
              <a:t> </a:t>
            </a:r>
            <a:r>
              <a:rPr lang="en-US" sz="2800" b="1" dirty="0">
                <a:latin typeface="MTN Brighter Sans ExtraBold" pitchFamily="2" charset="77"/>
                <a:cs typeface="Calibri"/>
              </a:rPr>
              <a:t>rugby</a:t>
            </a:r>
            <a:r>
              <a:rPr lang="en-US" sz="2800" b="1" spc="-120" dirty="0">
                <a:latin typeface="MTN Brighter Sans ExtraBold" pitchFamily="2" charset="77"/>
                <a:cs typeface="Calibri"/>
              </a:rPr>
              <a:t> </a:t>
            </a:r>
            <a:r>
              <a:rPr lang="en-US" sz="2800" b="1" dirty="0">
                <a:latin typeface="MTN Brighter Sans ExtraBold" pitchFamily="2" charset="77"/>
                <a:cs typeface="Calibri"/>
              </a:rPr>
              <a:t>fans,</a:t>
            </a:r>
            <a:r>
              <a:rPr lang="en-US" sz="2800" b="1" spc="-140" dirty="0">
                <a:latin typeface="MTN Brighter Sans ExtraBold" pitchFamily="2" charset="77"/>
                <a:cs typeface="Calibri"/>
              </a:rPr>
              <a:t> </a:t>
            </a:r>
            <a:r>
              <a:rPr lang="en-US" sz="2800" b="1" dirty="0">
                <a:latin typeface="MTN Brighter Sans ExtraBold" pitchFamily="2" charset="77"/>
                <a:cs typeface="Calibri"/>
              </a:rPr>
              <a:t>by</a:t>
            </a:r>
            <a:r>
              <a:rPr lang="en-US" sz="2800" b="1" spc="-135" dirty="0">
                <a:latin typeface="MTN Brighter Sans ExtraBold" pitchFamily="2" charset="77"/>
                <a:cs typeface="Calibri"/>
              </a:rPr>
              <a:t> </a:t>
            </a:r>
            <a:r>
              <a:rPr lang="en-US" sz="2800" b="1" spc="-10" dirty="0">
                <a:latin typeface="MTN Brighter Sans ExtraBold" pitchFamily="2" charset="77"/>
                <a:cs typeface="Calibri"/>
              </a:rPr>
              <a:t>rugby fans.</a:t>
            </a:r>
            <a:endParaRPr lang="en-US" sz="2800" b="1" dirty="0">
              <a:latin typeface="MTN Brighter Sans ExtraBold" pitchFamily="2" charset="77"/>
              <a:cs typeface="Calibri"/>
            </a:endParaRP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A165924B-AAC6-01D2-DD52-3AAAC444C3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4153" y="304412"/>
            <a:ext cx="1760160" cy="881837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494503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object 2">
            <a:extLst>
              <a:ext uri="{FF2B5EF4-FFF2-40B4-BE49-F238E27FC236}">
                <a16:creationId xmlns:a16="http://schemas.microsoft.com/office/drawing/2014/main" id="{0ADE0410-E62C-6CB5-4C47-1F056DDAA576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6184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What is Bok Squad?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836195F-0B72-D7FD-3356-8E018F4D0F60}"/>
              </a:ext>
            </a:extLst>
          </p:cNvPr>
          <p:cNvSpPr txBox="1"/>
          <p:nvPr/>
        </p:nvSpPr>
        <p:spPr>
          <a:xfrm>
            <a:off x="-1" y="1764911"/>
            <a:ext cx="121919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2069" algn="ctr"/>
            <a:r>
              <a:rPr lang="en-US" sz="2700" b="1" dirty="0">
                <a:latin typeface="MTN Brighter Sans ExtraBold" pitchFamily="2" charset="77"/>
                <a:cs typeface="Calibri"/>
              </a:rPr>
              <a:t>“The</a:t>
            </a:r>
            <a:r>
              <a:rPr lang="en-US" sz="2700" b="1" spc="-105" dirty="0">
                <a:latin typeface="MTN Brighter Sans ExtraBold" pitchFamily="2" charset="77"/>
                <a:cs typeface="Calibri"/>
              </a:rPr>
              <a:t> H</a:t>
            </a:r>
            <a:r>
              <a:rPr lang="en-US" sz="2700" b="1" dirty="0">
                <a:latin typeface="MTN Brighter Sans ExtraBold" pitchFamily="2" charset="77"/>
                <a:cs typeface="Calibri"/>
              </a:rPr>
              <a:t>ome</a:t>
            </a:r>
            <a:r>
              <a:rPr lang="en-US" sz="2700" b="1" spc="-130" dirty="0">
                <a:latin typeface="MTN Brighter Sans ExtraBold" pitchFamily="2" charset="77"/>
                <a:cs typeface="Calibri"/>
              </a:rPr>
              <a:t> of Springbok</a:t>
            </a:r>
            <a:r>
              <a:rPr lang="en-US" sz="2700" b="1" spc="-80" dirty="0">
                <a:latin typeface="MTN Brighter Sans ExtraBold" pitchFamily="2" charset="77"/>
                <a:cs typeface="Calibri"/>
              </a:rPr>
              <a:t> F</a:t>
            </a:r>
            <a:r>
              <a:rPr lang="en-US" sz="2700" b="1" dirty="0">
                <a:latin typeface="MTN Brighter Sans ExtraBold" pitchFamily="2" charset="77"/>
                <a:cs typeface="Calibri"/>
              </a:rPr>
              <a:t>ans</a:t>
            </a:r>
            <a:r>
              <a:rPr lang="en-US" sz="2700" b="1" spc="-70" dirty="0">
                <a:latin typeface="MTN Brighter Sans ExtraBold" pitchFamily="2" charset="77"/>
                <a:cs typeface="Calibri"/>
              </a:rPr>
              <a:t>” </a:t>
            </a:r>
            <a:r>
              <a:rPr lang="en-US" sz="2700" b="1" dirty="0">
                <a:latin typeface="MTN Brighter Sans ExtraBold" pitchFamily="2" charset="77"/>
                <a:cs typeface="Calibri"/>
              </a:rPr>
              <a:t>Built</a:t>
            </a:r>
            <a:r>
              <a:rPr lang="en-US" sz="2700" b="1" spc="-120" dirty="0">
                <a:latin typeface="MTN Brighter Sans ExtraBold" pitchFamily="2" charset="77"/>
                <a:cs typeface="Calibri"/>
              </a:rPr>
              <a:t> </a:t>
            </a:r>
            <a:r>
              <a:rPr lang="en-US" sz="2700" b="1" dirty="0">
                <a:latin typeface="MTN Brighter Sans ExtraBold" pitchFamily="2" charset="77"/>
                <a:cs typeface="Calibri"/>
              </a:rPr>
              <a:t>for</a:t>
            </a:r>
            <a:r>
              <a:rPr lang="en-US" sz="2700" b="1" spc="-95" dirty="0">
                <a:latin typeface="MTN Brighter Sans ExtraBold" pitchFamily="2" charset="77"/>
                <a:cs typeface="Calibri"/>
              </a:rPr>
              <a:t> </a:t>
            </a:r>
            <a:r>
              <a:rPr lang="en-US" sz="2700" b="1" dirty="0">
                <a:latin typeface="MTN Brighter Sans ExtraBold" pitchFamily="2" charset="77"/>
                <a:cs typeface="Calibri"/>
              </a:rPr>
              <a:t>rugby</a:t>
            </a:r>
            <a:r>
              <a:rPr lang="en-US" sz="2700" b="1" spc="-120" dirty="0">
                <a:latin typeface="MTN Brighter Sans ExtraBold" pitchFamily="2" charset="77"/>
                <a:cs typeface="Calibri"/>
              </a:rPr>
              <a:t> </a:t>
            </a:r>
            <a:r>
              <a:rPr lang="en-US" sz="2700" b="1" dirty="0">
                <a:latin typeface="MTN Brighter Sans ExtraBold" pitchFamily="2" charset="77"/>
                <a:cs typeface="Calibri"/>
              </a:rPr>
              <a:t>fans,</a:t>
            </a:r>
            <a:r>
              <a:rPr lang="en-US" sz="2700" b="1" spc="-140" dirty="0">
                <a:latin typeface="MTN Brighter Sans ExtraBold" pitchFamily="2" charset="77"/>
                <a:cs typeface="Calibri"/>
              </a:rPr>
              <a:t> </a:t>
            </a:r>
            <a:r>
              <a:rPr lang="en-US" sz="2700" b="1" dirty="0">
                <a:latin typeface="MTN Brighter Sans ExtraBold" pitchFamily="2" charset="77"/>
                <a:cs typeface="Calibri"/>
              </a:rPr>
              <a:t>by</a:t>
            </a:r>
            <a:r>
              <a:rPr lang="en-US" sz="2700" b="1" spc="-135" dirty="0">
                <a:latin typeface="MTN Brighter Sans ExtraBold" pitchFamily="2" charset="77"/>
                <a:cs typeface="Calibri"/>
              </a:rPr>
              <a:t> </a:t>
            </a:r>
            <a:r>
              <a:rPr lang="en-US" sz="2700" b="1" spc="-10" dirty="0">
                <a:latin typeface="MTN Brighter Sans ExtraBold" pitchFamily="2" charset="77"/>
                <a:cs typeface="Calibri"/>
              </a:rPr>
              <a:t>rugby fans.</a:t>
            </a:r>
            <a:endParaRPr lang="en-US" sz="2700" b="1" dirty="0">
              <a:latin typeface="MTN Brighter Sans ExtraBold" pitchFamily="2" charset="77"/>
              <a:cs typeface="Calibri"/>
            </a:endParaRPr>
          </a:p>
        </p:txBody>
      </p:sp>
      <p:pic>
        <p:nvPicPr>
          <p:cNvPr id="26" name="object 6">
            <a:extLst>
              <a:ext uri="{FF2B5EF4-FFF2-40B4-BE49-F238E27FC236}">
                <a16:creationId xmlns:a16="http://schemas.microsoft.com/office/drawing/2014/main" id="{20CF3506-D87A-0F14-8E83-0BAB414CB50E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677983" y="2741023"/>
            <a:ext cx="5685914" cy="2903943"/>
          </a:xfrm>
          <a:prstGeom prst="rect">
            <a:avLst/>
          </a:prstGeom>
        </p:spPr>
      </p:pic>
      <p:sp>
        <p:nvSpPr>
          <p:cNvPr id="27" name="object 4">
            <a:extLst>
              <a:ext uri="{FF2B5EF4-FFF2-40B4-BE49-F238E27FC236}">
                <a16:creationId xmlns:a16="http://schemas.microsoft.com/office/drawing/2014/main" id="{7CDA988E-BA06-1109-10D4-9AB0A266011B}"/>
              </a:ext>
            </a:extLst>
          </p:cNvPr>
          <p:cNvSpPr txBox="1"/>
          <p:nvPr/>
        </p:nvSpPr>
        <p:spPr>
          <a:xfrm>
            <a:off x="1226592" y="2672427"/>
            <a:ext cx="3994296" cy="2889702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/>
          <a:p>
            <a:pPr marL="241300" marR="242570" indent="-228600">
              <a:lnSpc>
                <a:spcPts val="2500"/>
              </a:lnSpc>
              <a:spcBef>
                <a:spcPts val="300"/>
              </a:spcBef>
              <a:spcAft>
                <a:spcPts val="300"/>
              </a:spcAft>
              <a:buClr>
                <a:srgbClr val="F7BC37"/>
              </a:buClr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lang="en-ZA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F</a:t>
            </a:r>
            <a:r>
              <a:rPr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or those who live and breathe rugby, who love the game</a:t>
            </a:r>
            <a:r>
              <a:rPr lang="en-ZA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.</a:t>
            </a:r>
          </a:p>
          <a:p>
            <a:pPr marL="241300" marR="242570" indent="-228600">
              <a:lnSpc>
                <a:spcPts val="2500"/>
              </a:lnSpc>
              <a:spcBef>
                <a:spcPts val="300"/>
              </a:spcBef>
              <a:spcAft>
                <a:spcPts val="300"/>
              </a:spcAft>
              <a:buClr>
                <a:srgbClr val="F7BC37"/>
              </a:buClr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endParaRPr kern="0" spc="-30" dirty="0">
              <a:solidFill>
                <a:sysClr val="windowText" lastClr="000000"/>
              </a:solidFill>
              <a:latin typeface="+mj-lt"/>
              <a:cs typeface="Calibri"/>
            </a:endParaRPr>
          </a:p>
          <a:p>
            <a:pPr marL="241300" marR="0" indent="-228600">
              <a:lnSpc>
                <a:spcPts val="2215"/>
              </a:lnSpc>
              <a:spcBef>
                <a:spcPts val="300"/>
              </a:spcBef>
              <a:spcAft>
                <a:spcPts val="300"/>
              </a:spcAft>
              <a:buClr>
                <a:srgbClr val="F7BC37"/>
              </a:buClr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lang="en-ZA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A</a:t>
            </a:r>
            <a:r>
              <a:rPr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 dedicated home with all they</a:t>
            </a:r>
          </a:p>
          <a:p>
            <a:pPr marL="241300" marR="0" indent="-228600"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  <a:buClr>
                <a:srgbClr val="F7BC37"/>
              </a:buClr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could want &amp;</a:t>
            </a:r>
            <a:r>
              <a:rPr lang="en-ZA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 </a:t>
            </a:r>
            <a:r>
              <a:rPr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need</a:t>
            </a:r>
            <a:r>
              <a:rPr lang="en-ZA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.</a:t>
            </a:r>
          </a:p>
          <a:p>
            <a:pPr marL="241300" marR="0" indent="-228600"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  <a:buClr>
                <a:srgbClr val="F7BC37"/>
              </a:buClr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endParaRPr kern="0" spc="-30" dirty="0">
              <a:solidFill>
                <a:sysClr val="windowText" lastClr="000000"/>
              </a:solidFill>
              <a:latin typeface="+mj-lt"/>
              <a:cs typeface="Calibri"/>
            </a:endParaRPr>
          </a:p>
          <a:p>
            <a:pPr marL="241300" marR="5080" indent="-228600">
              <a:lnSpc>
                <a:spcPts val="2400"/>
              </a:lnSpc>
              <a:spcBef>
                <a:spcPts val="300"/>
              </a:spcBef>
              <a:spcAft>
                <a:spcPts val="300"/>
              </a:spcAft>
              <a:buClr>
                <a:srgbClr val="F7BC37"/>
              </a:buClr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lang="en-ZA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A</a:t>
            </a:r>
            <a:r>
              <a:rPr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n every day, always-on, place to congregate and engage</a:t>
            </a:r>
            <a:r>
              <a:rPr lang="en-ZA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.</a:t>
            </a:r>
            <a:endParaRPr kern="0" spc="-30" dirty="0">
              <a:solidFill>
                <a:sysClr val="windowText" lastClr="00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19009746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375235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object 2">
            <a:extLst>
              <a:ext uri="{FF2B5EF4-FFF2-40B4-BE49-F238E27FC236}">
                <a16:creationId xmlns:a16="http://schemas.microsoft.com/office/drawing/2014/main" id="{0ADE0410-E62C-6CB5-4C47-1F056DDAA576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6184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Product Featur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289B6D0-4BC5-4B01-2053-8CFC68EC90CD}"/>
              </a:ext>
            </a:extLst>
          </p:cNvPr>
          <p:cNvGrpSpPr/>
          <p:nvPr/>
        </p:nvGrpSpPr>
        <p:grpSpPr>
          <a:xfrm>
            <a:off x="2736997" y="1702236"/>
            <a:ext cx="1985094" cy="1873449"/>
            <a:chOff x="2212300" y="2378096"/>
            <a:chExt cx="1520656" cy="1435131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2ABFC6F-1F1D-120D-806C-2C29EE249A1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2628" y="2378096"/>
              <a:ext cx="900000" cy="89999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F80A6E1-F0A6-221B-50E8-01B2120D6B82}"/>
                </a:ext>
              </a:extLst>
            </p:cNvPr>
            <p:cNvSpPr txBox="1"/>
            <p:nvPr/>
          </p:nvSpPr>
          <p:spPr>
            <a:xfrm>
              <a:off x="2212300" y="3412421"/>
              <a:ext cx="1520656" cy="4008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latin typeface="MTN Brighter Sans ExtraBold" pitchFamily="2" charset="77"/>
                </a:rPr>
                <a:t>RICH MEDIA CONTENT</a:t>
              </a: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6A890A48-01D3-FF8D-3590-EDDCF81F916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736045" y="2576741"/>
              <a:ext cx="487884" cy="487884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9A7DA47-CEBC-A21E-2E94-42DBC83CF231}"/>
              </a:ext>
            </a:extLst>
          </p:cNvPr>
          <p:cNvGrpSpPr/>
          <p:nvPr/>
        </p:nvGrpSpPr>
        <p:grpSpPr>
          <a:xfrm>
            <a:off x="7261533" y="1702236"/>
            <a:ext cx="2006007" cy="1891577"/>
            <a:chOff x="5586899" y="2378096"/>
            <a:chExt cx="1536676" cy="1449018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8F27F4A-6B7C-D3B0-3E52-7232220D5D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05237" y="2378096"/>
              <a:ext cx="900000" cy="89999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94EDDF9-3184-74E0-5991-A97AC1495898}"/>
                </a:ext>
              </a:extLst>
            </p:cNvPr>
            <p:cNvSpPr txBox="1"/>
            <p:nvPr/>
          </p:nvSpPr>
          <p:spPr>
            <a:xfrm>
              <a:off x="5586899" y="3426308"/>
              <a:ext cx="1536676" cy="4008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latin typeface="MTN Brighter Sans ExtraBold" pitchFamily="2" charset="77"/>
                </a:rPr>
                <a:t>ECOMMERCE SHOPPING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85BF791-10C6-EECB-1DD7-38A9A5038CF9}"/>
              </a:ext>
            </a:extLst>
          </p:cNvPr>
          <p:cNvGrpSpPr/>
          <p:nvPr/>
        </p:nvGrpSpPr>
        <p:grpSpPr>
          <a:xfrm>
            <a:off x="5024615" y="1702236"/>
            <a:ext cx="1985093" cy="1873449"/>
            <a:chOff x="3924094" y="2378096"/>
            <a:chExt cx="1520655" cy="1435131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3860C7FF-84B5-9E13-26FB-831D96D179D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21872" y="2378096"/>
              <a:ext cx="900000" cy="89999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2CAF41F-660D-3489-C579-4DC98EED2089}"/>
                </a:ext>
              </a:extLst>
            </p:cNvPr>
            <p:cNvSpPr txBox="1"/>
            <p:nvPr/>
          </p:nvSpPr>
          <p:spPr>
            <a:xfrm>
              <a:off x="3924094" y="3412421"/>
              <a:ext cx="1520655" cy="4008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latin typeface="MTN Brighter Sans ExtraBold" pitchFamily="2" charset="77"/>
                </a:rPr>
                <a:t>EXCLUSIVE </a:t>
              </a:r>
            </a:p>
            <a:p>
              <a:pPr algn="ctr"/>
              <a:r>
                <a:rPr lang="en-GB" sz="1400" b="1" dirty="0">
                  <a:latin typeface="MTN Brighter Sans ExtraBold" pitchFamily="2" charset="77"/>
                </a:rPr>
                <a:t>ACCESS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1ADCF9A-9A32-6225-8C4F-876828EC5951}"/>
              </a:ext>
            </a:extLst>
          </p:cNvPr>
          <p:cNvGrpSpPr/>
          <p:nvPr/>
        </p:nvGrpSpPr>
        <p:grpSpPr>
          <a:xfrm>
            <a:off x="9448929" y="1702236"/>
            <a:ext cx="2199999" cy="1881302"/>
            <a:chOff x="7353889" y="2378096"/>
            <a:chExt cx="1685281" cy="1441147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31953BF-18EF-CB2D-FF9D-4E25145484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735291" y="2378096"/>
              <a:ext cx="900000" cy="89999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461C1D6-C76F-80AA-2BAF-2BE28CB68126}"/>
                </a:ext>
              </a:extLst>
            </p:cNvPr>
            <p:cNvSpPr txBox="1"/>
            <p:nvPr/>
          </p:nvSpPr>
          <p:spPr>
            <a:xfrm>
              <a:off x="7353889" y="3418437"/>
              <a:ext cx="1685281" cy="4008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latin typeface="MTN Brighter Sans ExtraBold" pitchFamily="2" charset="77"/>
                </a:rPr>
                <a:t>PLAY </a:t>
              </a:r>
            </a:p>
            <a:p>
              <a:pPr algn="ctr"/>
              <a:r>
                <a:rPr lang="en-GB" sz="1400" b="1" dirty="0">
                  <a:latin typeface="MTN Brighter Sans ExtraBold" pitchFamily="2" charset="77"/>
                </a:rPr>
                <a:t>AND WIN</a:t>
              </a:r>
            </a:p>
          </p:txBody>
        </p: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D9EA2A50-346D-B656-9F05-73C38F3040B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26054" y="2561446"/>
              <a:ext cx="518474" cy="518474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59F58F4-A17C-CACA-8A93-25EE354CF72B}"/>
              </a:ext>
            </a:extLst>
          </p:cNvPr>
          <p:cNvGrpSpPr/>
          <p:nvPr/>
        </p:nvGrpSpPr>
        <p:grpSpPr>
          <a:xfrm>
            <a:off x="494300" y="1702236"/>
            <a:ext cx="1985093" cy="1873449"/>
            <a:chOff x="494311" y="2378096"/>
            <a:chExt cx="1520655" cy="1435131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59BC37C4-F1DE-ECAE-952F-041A5B8B5F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9972" y="2378096"/>
              <a:ext cx="900000" cy="899999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001A5F2-D147-3AC0-E472-82D3CC6D4A4D}"/>
                </a:ext>
              </a:extLst>
            </p:cNvPr>
            <p:cNvSpPr txBox="1"/>
            <p:nvPr/>
          </p:nvSpPr>
          <p:spPr>
            <a:xfrm>
              <a:off x="494311" y="3412421"/>
              <a:ext cx="1520655" cy="4008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400" b="1" dirty="0">
                  <a:latin typeface="MTN Brighter Sans ExtraBold" pitchFamily="2" charset="77"/>
                </a:rPr>
                <a:t>MOBILE </a:t>
              </a:r>
            </a:p>
            <a:p>
              <a:pPr algn="ctr"/>
              <a:r>
                <a:rPr lang="en-GB" sz="1400" b="1" dirty="0">
                  <a:latin typeface="MTN Brighter Sans ExtraBold" pitchFamily="2" charset="77"/>
                </a:rPr>
                <a:t>FIRST</a:t>
              </a: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B2931AAC-4C04-9D60-58A4-50EAF7BCA1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8664" y="3669231"/>
            <a:ext cx="1291745" cy="2297584"/>
          </a:xfrm>
          <a:prstGeom prst="rect">
            <a:avLst/>
          </a:prstGeom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471C340-58FC-6DA1-6A1E-3B2CC182D8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83671" y="3669231"/>
            <a:ext cx="1291746" cy="2297585"/>
          </a:xfrm>
          <a:prstGeom prst="rect">
            <a:avLst/>
          </a:prstGeom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B19B337-A4D5-4559-2AE3-536EF118CE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0974" y="3669231"/>
            <a:ext cx="1291745" cy="2297584"/>
          </a:xfrm>
          <a:prstGeom prst="rect">
            <a:avLst/>
          </a:prstGeom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22C2D564-5407-3478-065F-A4D748D9724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71289" y="3669231"/>
            <a:ext cx="1291745" cy="2297583"/>
          </a:xfrm>
          <a:prstGeom prst="rect">
            <a:avLst/>
          </a:prstGeom>
          <a:ln w="12700">
            <a:solidFill>
              <a:schemeClr val="bg1">
                <a:lumMod val="95000"/>
              </a:schemeClr>
            </a:solidFill>
          </a:ln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02E56C0-1BD2-3A72-1C02-5FA60E2E85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903056" y="3669231"/>
            <a:ext cx="1291744" cy="2297583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FB57B4DA-C67D-4FBA-B510-6D022D43406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36247" y="1949831"/>
            <a:ext cx="691298" cy="691298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8462B979-C17A-0044-66BB-8D11ECC372A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78748" y="1964303"/>
            <a:ext cx="676826" cy="676826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AF2165E5-EC3E-7188-5920-9C7501C3CF9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939543" y="1953394"/>
            <a:ext cx="691298" cy="691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859021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C6C4DE-65CD-A240-BDB2-7382EEB8B4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E296D-8B4A-AE4F-803D-9698D15DA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395" y="2673984"/>
            <a:ext cx="3657237" cy="1033034"/>
          </a:xfrm>
        </p:spPr>
        <p:txBody>
          <a:bodyPr/>
          <a:lstStyle/>
          <a:p>
            <a:r>
              <a:rPr lang="en-GB" dirty="0"/>
              <a:t>The Audienc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5B947-971C-3D4C-BE8A-E16874024E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908F167-99A3-2937-59C1-95170CC4997E}"/>
              </a:ext>
            </a:extLst>
          </p:cNvPr>
          <p:cNvGrpSpPr>
            <a:grpSpLocks noChangeAspect="1"/>
          </p:cNvGrpSpPr>
          <p:nvPr/>
        </p:nvGrpSpPr>
        <p:grpSpPr>
          <a:xfrm>
            <a:off x="8966531" y="5484233"/>
            <a:ext cx="2916000" cy="1033034"/>
            <a:chOff x="1543336" y="4626248"/>
            <a:chExt cx="5335255" cy="1890117"/>
          </a:xfrm>
        </p:grpSpPr>
        <p:pic>
          <p:nvPicPr>
            <p:cNvPr id="5" name="Picture 4" descr="Logo&#10;&#10;Description automatically generated">
              <a:extLst>
                <a:ext uri="{FF2B5EF4-FFF2-40B4-BE49-F238E27FC236}">
                  <a16:creationId xmlns:a16="http://schemas.microsoft.com/office/drawing/2014/main" id="{E40B8B5C-92AD-9044-3C17-633551B4885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43336" y="4626248"/>
              <a:ext cx="2237828" cy="1890117"/>
            </a:xfrm>
            <a:prstGeom prst="rect">
              <a:avLst/>
            </a:prstGeom>
          </p:spPr>
        </p:pic>
        <p:pic>
          <p:nvPicPr>
            <p:cNvPr id="6" name="Picture 5" descr="Logo&#10;&#10;Description automatically generated">
              <a:extLst>
                <a:ext uri="{FF2B5EF4-FFF2-40B4-BE49-F238E27FC236}">
                  <a16:creationId xmlns:a16="http://schemas.microsoft.com/office/drawing/2014/main" id="{6A4D9F99-1C88-A81E-32CE-6DEC47622B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20571" y="4851263"/>
              <a:ext cx="2758020" cy="1381763"/>
            </a:xfrm>
            <a:prstGeom prst="rect">
              <a:avLst/>
            </a:prstGeom>
          </p:spPr>
        </p:pic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34B9E6A-E054-0FB8-C775-4D14D68F9316}"/>
                </a:ext>
              </a:extLst>
            </p:cNvPr>
            <p:cNvCxnSpPr/>
            <p:nvPr/>
          </p:nvCxnSpPr>
          <p:spPr>
            <a:xfrm>
              <a:off x="3781164" y="4909589"/>
              <a:ext cx="0" cy="1323437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1336099506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651497" y="306704"/>
            <a:ext cx="3184481" cy="1056956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12700" marR="5080" algn="l">
              <a:lnSpc>
                <a:spcPts val="3900"/>
              </a:lnSpc>
              <a:spcBef>
                <a:spcPts val="580"/>
              </a:spcBef>
              <a:tabLst>
                <a:tab pos="3409950" algn="l"/>
              </a:tabLst>
            </a:pPr>
            <a:r>
              <a:rPr sz="2800" dirty="0">
                <a:latin typeface="MTN Brighter Sans ExtraBold" pitchFamily="2" charset="77"/>
              </a:rPr>
              <a:t>What</a:t>
            </a:r>
            <a:r>
              <a:rPr sz="2800" spc="5" dirty="0">
                <a:latin typeface="MTN Brighter Sans ExtraBold" pitchFamily="2" charset="77"/>
              </a:rPr>
              <a:t> </a:t>
            </a:r>
            <a:r>
              <a:rPr sz="2800" dirty="0">
                <a:latin typeface="MTN Brighter Sans ExtraBold" pitchFamily="2" charset="77"/>
              </a:rPr>
              <a:t>does</a:t>
            </a:r>
            <a:r>
              <a:rPr sz="2800" spc="-105" dirty="0">
                <a:latin typeface="MTN Brighter Sans ExtraBold" pitchFamily="2" charset="77"/>
              </a:rPr>
              <a:t> </a:t>
            </a:r>
            <a:r>
              <a:rPr lang="en-ZA" sz="2800" spc="-20" dirty="0">
                <a:latin typeface="MTN Brighter Sans ExtraBold" pitchFamily="2" charset="77"/>
              </a:rPr>
              <a:t>being</a:t>
            </a:r>
            <a:r>
              <a:rPr lang="en-US" sz="2800" spc="-20" dirty="0">
                <a:latin typeface="MTN Brighter Sans ExtraBold" pitchFamily="2" charset="77"/>
              </a:rPr>
              <a:t> </a:t>
            </a:r>
            <a:r>
              <a:rPr sz="2800" spc="-50" dirty="0">
                <a:latin typeface="MTN Brighter Sans ExtraBold" pitchFamily="2" charset="77"/>
              </a:rPr>
              <a:t>a </a:t>
            </a:r>
            <a:r>
              <a:rPr lang="en-US" sz="2800" spc="-50" dirty="0">
                <a:latin typeface="MTN Brighter Sans ExtraBold" pitchFamily="2" charset="77"/>
              </a:rPr>
              <a:t>Bok </a:t>
            </a:r>
            <a:r>
              <a:rPr sz="2800" dirty="0">
                <a:latin typeface="MTN Brighter Sans ExtraBold" pitchFamily="2" charset="77"/>
              </a:rPr>
              <a:t>fan</a:t>
            </a:r>
            <a:r>
              <a:rPr sz="2800" spc="-20" dirty="0">
                <a:latin typeface="MTN Brighter Sans ExtraBold" pitchFamily="2" charset="77"/>
              </a:rPr>
              <a:t> </a:t>
            </a:r>
            <a:r>
              <a:rPr sz="2800" spc="-10" dirty="0">
                <a:latin typeface="MTN Brighter Sans ExtraBold" pitchFamily="2" charset="77"/>
              </a:rPr>
              <a:t>mean?</a:t>
            </a:r>
            <a:endParaRPr sz="2800" dirty="0">
              <a:latin typeface="MTN Brighter Sans ExtraBold" pitchFamily="2" charset="77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651495" y="2022500"/>
            <a:ext cx="6263121" cy="4302396"/>
          </a:xfrm>
          <a:prstGeom prst="rect">
            <a:avLst/>
          </a:prstGeom>
        </p:spPr>
        <p:txBody>
          <a:bodyPr vert="horz" wrap="square" lIns="0" tIns="92075" rIns="0" bIns="0" rtlCol="0">
            <a:spAutoFit/>
          </a:bodyPr>
          <a:lstStyle/>
          <a:p>
            <a:pPr marL="355600" marR="5080" lvl="0" indent="-342900" defTabSz="91440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6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It’s</a:t>
            </a:r>
            <a:r>
              <a:rPr kumimoji="0" sz="1600" b="0" i="0" u="none" strike="noStrike" kern="0" cap="none" spc="-1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more</a:t>
            </a:r>
            <a:r>
              <a:rPr kumimoji="0" sz="1600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than</a:t>
            </a:r>
            <a:r>
              <a:rPr kumimoji="0" sz="1600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a</a:t>
            </a:r>
            <a:r>
              <a:rPr kumimoji="0" sz="1600" b="0" i="0" u="none" strike="noStrike" kern="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simple</a:t>
            </a:r>
            <a:r>
              <a:rPr kumimoji="0" sz="1600" b="0" i="0" u="none" strike="noStrike" kern="0" cap="none" spc="-1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interest</a:t>
            </a:r>
            <a:r>
              <a:rPr kumimoji="0" sz="1600" b="0" i="0" u="none" strike="noStrike" kern="0" cap="none" spc="-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in </a:t>
            </a:r>
            <a:r>
              <a:rPr kumimoji="0" sz="16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something...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3556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6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It’s</a:t>
            </a:r>
            <a:r>
              <a:rPr kumimoji="0" sz="1600" b="0" i="0" u="none" strike="noStrike" kern="0" cap="none" spc="-1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a</a:t>
            </a:r>
            <a:r>
              <a:rPr kumimoji="0" sz="1600" b="0" i="0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love</a:t>
            </a:r>
            <a:r>
              <a:rPr kumimoji="0" sz="1600" b="0" i="0" u="none" strike="noStrike" kern="0" cap="none" spc="-1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for</a:t>
            </a:r>
            <a:r>
              <a:rPr kumimoji="0" sz="16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something.</a:t>
            </a:r>
            <a:endParaRPr kumimoji="0" lang="en-US" sz="1600" b="0" i="0" u="none" strike="noStrike" kern="0" cap="none" spc="-1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355600" marR="0" lvl="0" indent="-3429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355600" marR="1273175" lvl="0" indent="-342900" defTabSz="914400" eaLnBrk="1" fontAlgn="auto" latinLnBrk="0" hangingPunct="1">
              <a:lnSpc>
                <a:spcPts val="25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A</a:t>
            </a:r>
            <a:r>
              <a:rPr kumimoji="0" sz="1600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devotion,</a:t>
            </a:r>
            <a:r>
              <a:rPr kumimoji="0" sz="1600" b="0" i="0" u="none" strike="noStrike" kern="0" cap="none" spc="-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dedication,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an</a:t>
            </a:r>
            <a:r>
              <a:rPr kumimoji="0" sz="1600" b="0" i="0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unwavering</a:t>
            </a:r>
            <a:r>
              <a:rPr kumimoji="0" sz="1600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support.</a:t>
            </a:r>
            <a:endParaRPr kumimoji="0" lang="en-ZA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355600" marR="0" lvl="0" indent="-342900" defTabSz="914400" eaLnBrk="1" fontAlgn="auto" latinLnBrk="0" hangingPunct="1">
              <a:lnSpc>
                <a:spcPts val="2965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600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You’re</a:t>
            </a:r>
            <a:r>
              <a:rPr kumimoji="0" lang="en-US" sz="1600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2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more</a:t>
            </a:r>
            <a:r>
              <a:rPr kumimoji="0" sz="1600" b="0" i="0" u="none" strike="noStrike" kern="0" cap="none" spc="-1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than</a:t>
            </a:r>
            <a:r>
              <a:rPr kumimoji="0" sz="1600" b="0" i="0" u="none" strike="noStrike" kern="0" cap="none" spc="-114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just</a:t>
            </a:r>
            <a:r>
              <a:rPr kumimoji="0" sz="1600" b="0" i="0" u="none" strike="noStrike" kern="0" cap="none" spc="-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interested,</a:t>
            </a:r>
            <a:r>
              <a:rPr lang="en-US" sz="1600" kern="0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you’re</a:t>
            </a:r>
            <a:r>
              <a:rPr kumimoji="0" sz="1600" b="0" i="0" u="none" strike="noStrike" kern="0" cap="none" spc="-1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fanatical.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355600" marR="2340610" lvl="0" indent="-342900" defTabSz="914400" eaLnBrk="1" fontAlgn="auto" latinLnBrk="0" hangingPunct="1">
              <a:lnSpc>
                <a:spcPts val="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600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You’re</a:t>
            </a:r>
            <a:r>
              <a:rPr kumimoji="0" lang="en-US" sz="1600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2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a</a:t>
            </a:r>
            <a:r>
              <a:rPr lang="en-US" sz="1600" kern="0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fanatic. </a:t>
            </a:r>
            <a:endParaRPr kumimoji="0" lang="en-US" sz="1600" b="0" i="0" u="none" strike="noStrike" kern="0" cap="none" spc="-35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355600" marR="2340610" lvl="0" indent="-342900" defTabSz="914400" eaLnBrk="1" fontAlgn="auto" latinLnBrk="0" hangingPunct="1">
              <a:lnSpc>
                <a:spcPts val="5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600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You</a:t>
            </a:r>
            <a:r>
              <a:rPr kumimoji="0" sz="1600" b="0" i="0" u="none" strike="noStrike" kern="0" cap="none" spc="-2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lang="en-US" sz="1600" b="0" i="0" u="none" strike="noStrike" kern="0" cap="none" spc="-2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are</a:t>
            </a: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a</a:t>
            </a:r>
            <a:r>
              <a:rPr kumimoji="0" sz="1600" b="0" i="0" u="none" strike="noStrike" kern="0" cap="none" spc="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16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fan.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2A378489-5068-8152-9759-E1ACE57574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476" y="101998"/>
            <a:ext cx="1736123" cy="1466367"/>
          </a:xfrm>
          <a:prstGeom prst="rect">
            <a:avLst/>
          </a:prstGeom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A032CBD5-108A-EF2F-12C0-6413FC5E06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51" r="31646"/>
          <a:stretch/>
        </p:blipFill>
        <p:spPr bwMode="auto">
          <a:xfrm>
            <a:off x="-1" y="0"/>
            <a:ext cx="6095999" cy="6857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42FAB82D-41A1-DAF3-541D-AF07F5B7CCD2}"/>
              </a:ext>
            </a:extLst>
          </p:cNvPr>
          <p:cNvSpPr txBox="1">
            <a:spLocks/>
          </p:cNvSpPr>
          <p:nvPr/>
        </p:nvSpPr>
        <p:spPr>
          <a:xfrm>
            <a:off x="6651497" y="306704"/>
            <a:ext cx="3184481" cy="1056956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marR="5080" algn="l">
              <a:lnSpc>
                <a:spcPts val="3900"/>
              </a:lnSpc>
              <a:spcBef>
                <a:spcPts val="580"/>
              </a:spcBef>
              <a:tabLst>
                <a:tab pos="3409950" algn="l"/>
              </a:tabLst>
            </a:pPr>
            <a:r>
              <a:rPr lang="en-ZA" sz="2800" kern="0" dirty="0">
                <a:latin typeface="MTN Brighter Sans ExtraBold" pitchFamily="2" charset="77"/>
              </a:rPr>
              <a:t>Who they are and what they want: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CFBDD85C-B058-B191-5DBF-F2DECEF34E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476" y="101998"/>
            <a:ext cx="1736123" cy="1466367"/>
          </a:xfrm>
          <a:prstGeom prst="rect">
            <a:avLst/>
          </a:prstGeom>
        </p:spPr>
      </p:pic>
      <p:sp>
        <p:nvSpPr>
          <p:cNvPr id="12" name="object 6">
            <a:extLst>
              <a:ext uri="{FF2B5EF4-FFF2-40B4-BE49-F238E27FC236}">
                <a16:creationId xmlns:a16="http://schemas.microsoft.com/office/drawing/2014/main" id="{43E9D5E8-62B2-BE1F-DFF9-CB7376B80803}"/>
              </a:ext>
            </a:extLst>
          </p:cNvPr>
          <p:cNvSpPr txBox="1"/>
          <p:nvPr/>
        </p:nvSpPr>
        <p:spPr>
          <a:xfrm>
            <a:off x="6651659" y="1752600"/>
            <a:ext cx="5256088" cy="414773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469900" marR="0" indent="-457200">
              <a:lnSpc>
                <a:spcPts val="3329"/>
              </a:lnSpc>
              <a:spcBef>
                <a:spcPts val="150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/>
            </a:pP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Fans want to know everything</a:t>
            </a:r>
            <a:r>
              <a:rPr lang="en-ZA"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: </a:t>
            </a:r>
            <a:r>
              <a:rPr lang="en-US"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P</a:t>
            </a: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ast, present, future – they want to see behind the curtain.</a:t>
            </a:r>
          </a:p>
          <a:p>
            <a:pPr marL="469900" marR="0" indent="-457200">
              <a:lnSpc>
                <a:spcPct val="100000"/>
              </a:lnSpc>
              <a:spcBef>
                <a:spcPts val="150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/>
            </a:pP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Fans are passionate live supporters.</a:t>
            </a:r>
          </a:p>
          <a:p>
            <a:pPr marL="469900" marR="510540" indent="-457200">
              <a:lnSpc>
                <a:spcPts val="3000"/>
              </a:lnSpc>
              <a:spcBef>
                <a:spcPts val="150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/>
            </a:pP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Fans emblazon their lives with fan kit – and will spend to get it.</a:t>
            </a:r>
          </a:p>
          <a:p>
            <a:pPr marL="469900" marR="55244" indent="-457200">
              <a:lnSpc>
                <a:spcPts val="3000"/>
              </a:lnSpc>
              <a:spcBef>
                <a:spcPts val="1500"/>
              </a:spcBef>
              <a:spcAft>
                <a:spcPts val="1500"/>
              </a:spcAft>
              <a:buFont typeface="Arial" panose="020B0604020202020204" pitchFamily="34" charset="0"/>
              <a:buChar char="•"/>
              <a:defRPr/>
            </a:pP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A fan wants to voice their opinion. To</a:t>
            </a:r>
            <a:r>
              <a:rPr lang="en-US"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 </a:t>
            </a: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show how much they know, how dedicated they are, and how</a:t>
            </a:r>
            <a:r>
              <a:rPr lang="en-ZA"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 </a:t>
            </a: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they are a true fan.</a:t>
            </a:r>
          </a:p>
        </p:txBody>
      </p:sp>
      <p:pic>
        <p:nvPicPr>
          <p:cNvPr id="14" name="object 3">
            <a:extLst>
              <a:ext uri="{FF2B5EF4-FFF2-40B4-BE49-F238E27FC236}">
                <a16:creationId xmlns:a16="http://schemas.microsoft.com/office/drawing/2014/main" id="{3C14B11D-DE5F-F471-454B-D80C62ECA635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6095999" cy="6857997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>
            <a:extLst>
              <a:ext uri="{FF2B5EF4-FFF2-40B4-BE49-F238E27FC236}">
                <a16:creationId xmlns:a16="http://schemas.microsoft.com/office/drawing/2014/main" id="{1B2A53A8-4715-EF2A-C3E2-CDD903BD637F}"/>
              </a:ext>
            </a:extLst>
          </p:cNvPr>
          <p:cNvSpPr txBox="1">
            <a:spLocks/>
          </p:cNvSpPr>
          <p:nvPr/>
        </p:nvSpPr>
        <p:spPr>
          <a:xfrm>
            <a:off x="6651497" y="306704"/>
            <a:ext cx="3184481" cy="1056956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>
            <a:lvl1pPr>
              <a:defRPr sz="4400" b="1" i="0">
                <a:solidFill>
                  <a:schemeClr val="tx1"/>
                </a:solidFill>
                <a:latin typeface="Calibri"/>
                <a:ea typeface="+mj-ea"/>
                <a:cs typeface="Calibri"/>
              </a:defRPr>
            </a:lvl1pPr>
          </a:lstStyle>
          <a:p>
            <a:pPr marL="12700" marR="5080" algn="l">
              <a:lnSpc>
                <a:spcPts val="3900"/>
              </a:lnSpc>
              <a:spcBef>
                <a:spcPts val="580"/>
              </a:spcBef>
              <a:tabLst>
                <a:tab pos="3409950" algn="l"/>
              </a:tabLst>
            </a:pPr>
            <a:r>
              <a:rPr lang="en-ZA" sz="2800" kern="0" dirty="0">
                <a:latin typeface="MTN Brighter Sans ExtraBold" pitchFamily="2" charset="77"/>
              </a:rPr>
              <a:t>What do they need?</a:t>
            </a:r>
          </a:p>
        </p:txBody>
      </p:sp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BFCB3EF4-F20F-EF81-69F8-42F46CF6E6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91476" y="101998"/>
            <a:ext cx="1736123" cy="1466367"/>
          </a:xfrm>
          <a:prstGeom prst="rect">
            <a:avLst/>
          </a:prstGeom>
        </p:spPr>
      </p:pic>
      <p:sp>
        <p:nvSpPr>
          <p:cNvPr id="12" name="object 6">
            <a:extLst>
              <a:ext uri="{FF2B5EF4-FFF2-40B4-BE49-F238E27FC236}">
                <a16:creationId xmlns:a16="http://schemas.microsoft.com/office/drawing/2014/main" id="{C29EAA92-B2B3-C0E6-69B1-FDFD5C7C2D12}"/>
              </a:ext>
            </a:extLst>
          </p:cNvPr>
          <p:cNvSpPr txBox="1"/>
          <p:nvPr/>
        </p:nvSpPr>
        <p:spPr>
          <a:xfrm>
            <a:off x="6651497" y="1887053"/>
            <a:ext cx="5061042" cy="4532971"/>
          </a:xfrm>
          <a:prstGeom prst="rect">
            <a:avLst/>
          </a:prstGeom>
        </p:spPr>
        <p:txBody>
          <a:bodyPr vert="horz" wrap="square" lIns="0" tIns="55244" rIns="0" bIns="0" rtlCol="0">
            <a:spAutoFit/>
          </a:bodyPr>
          <a:lstStyle/>
          <a:p>
            <a:pPr marL="469900" marR="237490" lvl="0" indent="-457200" fontAlgn="auto">
              <a:lnSpc>
                <a:spcPct val="90000"/>
              </a:lnSpc>
              <a:spcBef>
                <a:spcPts val="150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Being a rugby fan transcends the enjoyment of watching a game... It forms part of everyday life.</a:t>
            </a:r>
          </a:p>
          <a:p>
            <a:pPr marL="469900" marR="0" lvl="0" indent="-457200" fontAlgn="auto">
              <a:lnSpc>
                <a:spcPts val="3000"/>
              </a:lnSpc>
              <a:spcBef>
                <a:spcPts val="150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Part of who they are.</a:t>
            </a:r>
          </a:p>
          <a:p>
            <a:pPr marL="469900" marR="131445" lvl="0" indent="-457200" fontAlgn="auto">
              <a:lnSpc>
                <a:spcPts val="3000"/>
              </a:lnSpc>
              <a:spcBef>
                <a:spcPts val="150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But how do they live the true fan experience on a </a:t>
            </a:r>
            <a:r>
              <a:rPr lang="en-ZA"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day-to-day</a:t>
            </a: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 basis?</a:t>
            </a:r>
            <a:r>
              <a:rPr lang="en-US"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 </a:t>
            </a: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They need a platform dedicated to strengthening the fan experience. That enhances every interaction of a passionate fan.</a:t>
            </a:r>
          </a:p>
          <a:p>
            <a:pPr marL="469900" marR="0" lvl="0" indent="-457200" fontAlgn="auto">
              <a:lnSpc>
                <a:spcPts val="3000"/>
              </a:lnSpc>
              <a:spcBef>
                <a:spcPts val="150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sz="1600" kern="0" spc="-35" dirty="0">
                <a:solidFill>
                  <a:sysClr val="windowText" lastClr="000000"/>
                </a:solidFill>
                <a:latin typeface="MTN Brighter Sans" panose="00000500000000000000" pitchFamily="50" charset="0"/>
                <a:cs typeface="Calibri"/>
              </a:rPr>
              <a:t>Somewhere to support every day.</a:t>
            </a:r>
          </a:p>
        </p:txBody>
      </p:sp>
      <p:pic>
        <p:nvPicPr>
          <p:cNvPr id="13" name="object 3">
            <a:extLst>
              <a:ext uri="{FF2B5EF4-FFF2-40B4-BE49-F238E27FC236}">
                <a16:creationId xmlns:a16="http://schemas.microsoft.com/office/drawing/2014/main" id="{85B408F8-4717-D158-E5EF-B0207DFECAB6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6095999" cy="6857998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C6C4DE-65CD-A240-BDB2-7382EEB8B4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E296D-8B4A-AE4F-803D-9698D15DA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395" y="2673984"/>
            <a:ext cx="3657237" cy="1403654"/>
          </a:xfrm>
        </p:spPr>
        <p:txBody>
          <a:bodyPr/>
          <a:lstStyle/>
          <a:p>
            <a:r>
              <a:rPr lang="en-GB" dirty="0"/>
              <a:t>Content Evolutio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5B947-971C-3D4C-BE8A-E16874024E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2D7CF31-87B1-7D2F-03A5-6912965BCEB7}"/>
              </a:ext>
            </a:extLst>
          </p:cNvPr>
          <p:cNvGrpSpPr>
            <a:grpSpLocks noChangeAspect="1"/>
          </p:cNvGrpSpPr>
          <p:nvPr/>
        </p:nvGrpSpPr>
        <p:grpSpPr>
          <a:xfrm>
            <a:off x="8966531" y="5484233"/>
            <a:ext cx="2916000" cy="1033034"/>
            <a:chOff x="1543336" y="4626248"/>
            <a:chExt cx="5335255" cy="1890117"/>
          </a:xfrm>
        </p:grpSpPr>
        <p:pic>
          <p:nvPicPr>
            <p:cNvPr id="5" name="Picture 4" descr="Logo&#10;&#10;Description automatically generated">
              <a:extLst>
                <a:ext uri="{FF2B5EF4-FFF2-40B4-BE49-F238E27FC236}">
                  <a16:creationId xmlns:a16="http://schemas.microsoft.com/office/drawing/2014/main" id="{6BD5BC4F-E93E-6BA7-D8FE-6F9B40F2D4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43336" y="4626248"/>
              <a:ext cx="2237828" cy="1890117"/>
            </a:xfrm>
            <a:prstGeom prst="rect">
              <a:avLst/>
            </a:prstGeom>
          </p:spPr>
        </p:pic>
        <p:pic>
          <p:nvPicPr>
            <p:cNvPr id="6" name="Picture 5" descr="Logo&#10;&#10;Description automatically generated">
              <a:extLst>
                <a:ext uri="{FF2B5EF4-FFF2-40B4-BE49-F238E27FC236}">
                  <a16:creationId xmlns:a16="http://schemas.microsoft.com/office/drawing/2014/main" id="{391BBCDD-F193-6D58-0BC4-B30AFFA7F0E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20571" y="4851263"/>
              <a:ext cx="2758020" cy="1381763"/>
            </a:xfrm>
            <a:prstGeom prst="rect">
              <a:avLst/>
            </a:prstGeom>
          </p:spPr>
        </p:pic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7904E7D-E866-CE2F-8BF4-E4D6832A3966}"/>
                </a:ext>
              </a:extLst>
            </p:cNvPr>
            <p:cNvCxnSpPr/>
            <p:nvPr/>
          </p:nvCxnSpPr>
          <p:spPr>
            <a:xfrm>
              <a:off x="3781164" y="4909589"/>
              <a:ext cx="0" cy="1323437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2428987445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sz="2400" dirty="0">
              <a:latin typeface="+mj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494503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object 2">
            <a:extLst>
              <a:ext uri="{FF2B5EF4-FFF2-40B4-BE49-F238E27FC236}">
                <a16:creationId xmlns:a16="http://schemas.microsoft.com/office/drawing/2014/main" id="{EF9AD636-7B6D-441A-162F-52D3CBCE18BA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6184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Types of Content</a:t>
            </a:r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9AA90B62-44D8-F6AB-65A8-0D4F1DDE30FE}"/>
              </a:ext>
            </a:extLst>
          </p:cNvPr>
          <p:cNvSpPr txBox="1"/>
          <p:nvPr/>
        </p:nvSpPr>
        <p:spPr>
          <a:xfrm>
            <a:off x="631710" y="2118604"/>
            <a:ext cx="4876798" cy="2884764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/>
          <a:p>
            <a:pPr marL="469900" marR="242570" lvl="0" indent="-457200" defTabSz="91440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r>
              <a:rPr kumimoji="0" lang="en-ZA" sz="28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Calibri"/>
              </a:rPr>
              <a:t>General</a:t>
            </a:r>
          </a:p>
          <a:p>
            <a:pPr marL="469900" marR="242570" lvl="0" indent="-457200" defTabSz="91440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endParaRPr kumimoji="0" lang="en-ZA" sz="2800" b="0" i="0" u="none" strike="noStrike" kern="0" cap="none" spc="-2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Calibri"/>
            </a:endParaRPr>
          </a:p>
          <a:p>
            <a:pPr marL="469900" marR="242570" lvl="0" indent="-457200" defTabSz="91440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r>
              <a:rPr lang="en-ZA" sz="2800" kern="0" spc="-20" dirty="0">
                <a:solidFill>
                  <a:sysClr val="windowText" lastClr="000000"/>
                </a:solidFill>
                <a:cs typeface="Calibri"/>
              </a:rPr>
              <a:t>Match Content</a:t>
            </a:r>
          </a:p>
          <a:p>
            <a:pPr marL="469900" marR="242570" lvl="0" indent="-457200" defTabSz="91440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endParaRPr lang="en-ZA" sz="2800" kern="0" spc="-20" dirty="0">
              <a:solidFill>
                <a:sysClr val="windowText" lastClr="000000"/>
              </a:solidFill>
              <a:cs typeface="Calibri"/>
            </a:endParaRPr>
          </a:p>
          <a:p>
            <a:pPr marL="469900" marR="242570" lvl="0" indent="-457200" defTabSz="91440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r>
              <a:rPr kumimoji="0" lang="en-ZA" sz="28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Calibri"/>
              </a:rPr>
              <a:t>Stand Alone</a:t>
            </a:r>
          </a:p>
          <a:p>
            <a:pPr marL="12700" marR="242570" lvl="0" defTabSz="914400" eaLnBrk="1" fontAlgn="auto" latinLnBrk="0" hangingPunct="1">
              <a:spcBef>
                <a:spcPts val="300"/>
              </a:spcBef>
              <a:spcAft>
                <a:spcPts val="300"/>
              </a:spcAft>
              <a:buClrTx/>
              <a:buSzTx/>
              <a:tabLst>
                <a:tab pos="240665" algn="l"/>
                <a:tab pos="241300" algn="l"/>
              </a:tabLst>
              <a:defRPr/>
            </a:pPr>
            <a:endParaRPr kumimoji="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29E28310-FFC8-6188-BE96-F85CDBFD05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7839223"/>
              </p:ext>
            </p:extLst>
          </p:nvPr>
        </p:nvGraphicFramePr>
        <p:xfrm>
          <a:off x="4336520" y="2118604"/>
          <a:ext cx="7347317" cy="25917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2" imgW="11773080" imgH="4152960" progId="PBrush">
                  <p:embed/>
                </p:oleObj>
              </mc:Choice>
              <mc:Fallback>
                <p:oleObj name="Bitmap Image" r:id="rId2" imgW="11773080" imgH="4152960" progId="PBrush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04265950-D68E-A8A5-2CA5-7A7B3C3CC2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336520" y="2118604"/>
                        <a:ext cx="7347317" cy="259177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5013830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sz="2400" dirty="0">
              <a:latin typeface="+mj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494503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object 2">
            <a:extLst>
              <a:ext uri="{FF2B5EF4-FFF2-40B4-BE49-F238E27FC236}">
                <a16:creationId xmlns:a16="http://schemas.microsoft.com/office/drawing/2014/main" id="{EF9AD636-7B6D-441A-162F-52D3CBCE18BA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719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Editorial Content</a:t>
            </a:r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46662332-BE8A-5F58-96C3-9AE8C8937482}"/>
              </a:ext>
            </a:extLst>
          </p:cNvPr>
          <p:cNvSpPr txBox="1"/>
          <p:nvPr/>
        </p:nvSpPr>
        <p:spPr>
          <a:xfrm>
            <a:off x="631710" y="1647112"/>
            <a:ext cx="5738268" cy="4302268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241300" marR="0" lvl="0" indent="-22860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his</a:t>
            </a:r>
            <a:r>
              <a:rPr kumimoji="0" lang="en-US" b="0" i="0" u="none" strike="noStrike" kern="0" cap="none" spc="-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is</a:t>
            </a: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our</a:t>
            </a:r>
            <a:r>
              <a:rPr kumimoji="0" lang="en-US" b="0" i="0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news and review editorial content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41300" marR="5080" lvl="0" indent="-228600" defTabSz="914400" eaLnBrk="1" fontAlgn="auto" latinLnBrk="0" hangingPunct="1">
              <a:lnSpc>
                <a:spcPts val="2510"/>
              </a:lnSpc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Similar</a:t>
            </a:r>
            <a:r>
              <a:rPr kumimoji="0" lang="en-US" b="0" i="0" u="none" strike="noStrike" kern="0" cap="none" spc="-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o</a:t>
            </a:r>
            <a:r>
              <a:rPr kumimoji="0" lang="en-US" b="0" i="0" u="none" strike="noStrike" kern="0" cap="none" spc="-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what</a:t>
            </a:r>
            <a:r>
              <a:rPr kumimoji="0" lang="en-US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you</a:t>
            </a:r>
            <a:r>
              <a:rPr kumimoji="0" lang="en-US" b="0" i="0" u="none" strike="noStrike" kern="0" cap="none" spc="-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ay</a:t>
            </a:r>
            <a:r>
              <a:rPr kumimoji="0" lang="en-US" b="0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ind</a:t>
            </a:r>
            <a:r>
              <a:rPr kumimoji="0" lang="en-US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on</a:t>
            </a:r>
            <a:r>
              <a:rPr kumimoji="0" lang="en-US" b="0" i="0" u="none" strike="noStrike" kern="0" cap="none" spc="-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competitor </a:t>
            </a: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ublications,</a:t>
            </a:r>
            <a:r>
              <a:rPr kumimoji="0" lang="en-US" b="0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but</a:t>
            </a:r>
            <a:r>
              <a:rPr kumimoji="0" lang="en-US" b="0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with</a:t>
            </a:r>
            <a:r>
              <a:rPr kumimoji="0" lang="en-US" b="0" i="0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our</a:t>
            </a:r>
            <a:r>
              <a:rPr kumimoji="0" lang="en-US" b="0" i="0" u="none" strike="noStrike" kern="0" cap="none" spc="-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unique</a:t>
            </a:r>
            <a:r>
              <a:rPr kumimoji="0" lang="en-US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ake.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41300" marR="0" lvl="0" indent="-228600" defTabSz="914400" eaLnBrk="1" fontAlgn="auto" latinLnBrk="0" hangingPunct="1">
              <a:lnSpc>
                <a:spcPts val="2520"/>
              </a:lnSpc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Examples</a:t>
            </a:r>
            <a:r>
              <a:rPr kumimoji="0" lang="en-US" b="0" i="0" u="none" strike="noStrike" kern="0" cap="none" spc="-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include</a:t>
            </a:r>
            <a:r>
              <a:rPr kumimoji="0" lang="en-US" b="0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News,</a:t>
            </a:r>
            <a:r>
              <a:rPr kumimoji="0" lang="en-US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reviews,</a:t>
            </a:r>
            <a:r>
              <a:rPr kumimoji="0" lang="en-US" b="0" i="0" u="none" strike="noStrike" kern="0" cap="none" spc="-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Reports,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41300" marR="0" lvl="0" indent="0" defTabSz="914400" eaLnBrk="1" fontAlgn="auto" latinLnBrk="0" hangingPunct="1">
              <a:lnSpc>
                <a:spcPts val="252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ixtures/Results,</a:t>
            </a:r>
            <a:r>
              <a:rPr kumimoji="0" lang="en-US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ables,</a:t>
            </a:r>
            <a:r>
              <a:rPr kumimoji="0" lang="en-US" b="0" i="0" u="none" strike="noStrike" kern="0" cap="none" spc="-1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Live</a:t>
            </a:r>
            <a:r>
              <a:rPr lang="en-US" kern="0" spc="415" dirty="0">
                <a:solidFill>
                  <a:sysClr val="windowText" lastClr="000000"/>
                </a:solidFill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scores</a:t>
            </a:r>
            <a:r>
              <a:rPr kumimoji="0" lang="en-US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5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etc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41300" marR="0" lvl="0" indent="-228600" defTabSz="914400" eaLnBrk="1" fontAlgn="auto" latinLnBrk="0" hangingPunct="1">
              <a:lnSpc>
                <a:spcPts val="2615"/>
              </a:lnSpc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Included</a:t>
            </a:r>
            <a:r>
              <a:rPr kumimoji="0" lang="en-US" b="0" i="0" u="none" strike="noStrike" kern="0" cap="none" spc="-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would</a:t>
            </a:r>
            <a:r>
              <a:rPr kumimoji="0" lang="en-US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be</a:t>
            </a:r>
            <a:r>
              <a:rPr kumimoji="0" lang="en-US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he</a:t>
            </a:r>
            <a:r>
              <a:rPr kumimoji="0" lang="en-US" b="0" i="0" u="none" strike="noStrike" kern="0" cap="none" spc="-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ollowing: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697865" marR="0" lvl="1" indent="-228600" defTabSz="914400" eaLnBrk="1" fontAlgn="auto" latinLnBrk="0" hangingPunct="1">
              <a:lnSpc>
                <a:spcPts val="2600"/>
              </a:lnSpc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697865" algn="l"/>
                <a:tab pos="698500" algn="l"/>
              </a:tabLst>
              <a:defRPr/>
            </a:pP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Unique</a:t>
            </a:r>
            <a:r>
              <a:rPr kumimoji="0" lang="en-US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Content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697865" marR="0" lvl="1" indent="-228600" defTabSz="914400" eaLnBrk="1" fontAlgn="auto" latinLnBrk="0" hangingPunct="1">
              <a:lnSpc>
                <a:spcPts val="2605"/>
              </a:lnSpc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697865" algn="l"/>
                <a:tab pos="698500" algn="l"/>
              </a:tabLst>
              <a:defRPr/>
            </a:pP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Unique</a:t>
            </a:r>
            <a:r>
              <a:rPr kumimoji="0" lang="en-US" b="0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Voice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697865" marR="0" lvl="1" indent="-228600" defTabSz="914400" eaLnBrk="1" fontAlgn="auto" latinLnBrk="0" hangingPunct="1">
              <a:lnSpc>
                <a:spcPts val="2600"/>
              </a:lnSpc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697865" algn="l"/>
                <a:tab pos="698500" algn="l"/>
              </a:tabLst>
              <a:defRPr/>
            </a:pPr>
            <a:r>
              <a:rPr kumimoji="0" lang="en-US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Easy</a:t>
            </a:r>
            <a:r>
              <a:rPr kumimoji="0" lang="en-US" b="0" i="0" u="none" strike="noStrike" kern="0" cap="none" spc="-114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nd</a:t>
            </a:r>
            <a:r>
              <a:rPr kumimoji="0" lang="en-US" b="0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simple</a:t>
            </a:r>
            <a:r>
              <a:rPr kumimoji="0" lang="en-US" b="0" i="0" u="none" strike="noStrike" kern="0" cap="none" spc="-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UX/UI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697865" marR="0" lvl="1" indent="-228600" defTabSz="914400" eaLnBrk="1" fontAlgn="auto" latinLnBrk="0" hangingPunct="1">
              <a:lnSpc>
                <a:spcPts val="2615"/>
              </a:lnSpc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697865" algn="l"/>
                <a:tab pos="698500" algn="l"/>
              </a:tabLst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or</a:t>
            </a:r>
            <a:r>
              <a:rPr kumimoji="0" lang="en-US" b="0" i="0" u="none" strike="noStrike" kern="0" cap="none" spc="-1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he</a:t>
            </a: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ans</a:t>
            </a:r>
            <a:r>
              <a:rPr kumimoji="0" lang="en-US" b="0" i="0" u="none" strike="noStrike" kern="0" cap="none" spc="-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by</a:t>
            </a:r>
            <a:r>
              <a:rPr kumimoji="0" lang="en-US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he</a:t>
            </a: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ans</a:t>
            </a:r>
            <a:r>
              <a:rPr kumimoji="0" lang="en-US" b="0" i="0" u="none" strike="noStrike" kern="0" cap="none" spc="-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heme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/</a:t>
            </a:r>
            <a:r>
              <a:rPr kumimoji="0" lang="en-US" b="0" i="0" u="none" strike="noStrike" kern="0" cap="none" spc="-1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len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</p:txBody>
      </p:sp>
      <p:pic>
        <p:nvPicPr>
          <p:cNvPr id="4" name="object 6">
            <a:extLst>
              <a:ext uri="{FF2B5EF4-FFF2-40B4-BE49-F238E27FC236}">
                <a16:creationId xmlns:a16="http://schemas.microsoft.com/office/drawing/2014/main" id="{10849DE7-0F4A-7B91-1DD5-33CA8958157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11818" y="377444"/>
            <a:ext cx="4856697" cy="55065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21621888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sz="2400" dirty="0">
              <a:latin typeface="+mj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494503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object 2">
            <a:extLst>
              <a:ext uri="{FF2B5EF4-FFF2-40B4-BE49-F238E27FC236}">
                <a16:creationId xmlns:a16="http://schemas.microsoft.com/office/drawing/2014/main" id="{EF9AD636-7B6D-441A-162F-52D3CBCE18BA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719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Editorial Content</a:t>
            </a:r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46662332-BE8A-5F58-96C3-9AE8C8937482}"/>
              </a:ext>
            </a:extLst>
          </p:cNvPr>
          <p:cNvSpPr txBox="1"/>
          <p:nvPr/>
        </p:nvSpPr>
        <p:spPr>
          <a:xfrm>
            <a:off x="631710" y="1647112"/>
            <a:ext cx="5738268" cy="4567917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 marR="0" lvl="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tabLst>
                <a:tab pos="240665" algn="l"/>
                <a:tab pos="241300" algn="l"/>
              </a:tabLst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he Must-Haves</a:t>
            </a:r>
          </a:p>
          <a:p>
            <a:pPr marL="241300" marR="0" lvl="0" indent="-228600" defTabSz="914400" eaLnBrk="1" fontAlgn="auto" latinLnBrk="0" hangingPunct="1"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Local rugby news </a:t>
            </a:r>
          </a:p>
          <a:p>
            <a:pPr marL="241300" marR="0" lvl="0" indent="-228600" defTabSz="914400" eaLnBrk="1" fontAlgn="auto" latinLnBrk="0" hangingPunct="1"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International rugby news</a:t>
            </a:r>
          </a:p>
          <a:p>
            <a:pPr marL="241300" marR="0" lvl="0" indent="-228600" defTabSz="914400" eaLnBrk="1" fontAlgn="auto" latinLnBrk="0" hangingPunct="1"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Opinion articles</a:t>
            </a:r>
          </a:p>
          <a:p>
            <a:pPr marL="241300" marR="0" lvl="0" indent="-228600" defTabSz="914400" eaLnBrk="1" fontAlgn="auto" latinLnBrk="0" hangingPunct="1"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Listicles</a:t>
            </a:r>
          </a:p>
          <a:p>
            <a:pPr marL="241300" marR="0" lvl="0" indent="-228600" defTabSz="914400" eaLnBrk="1" fontAlgn="auto" latinLnBrk="0" hangingPunct="1"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Video </a:t>
            </a:r>
          </a:p>
          <a:p>
            <a:pPr marL="241300" marR="0" lvl="0" indent="-228600" defTabSz="914400" eaLnBrk="1" fontAlgn="auto" latinLnBrk="0" hangingPunct="1"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ixtures</a:t>
            </a:r>
          </a:p>
          <a:p>
            <a:pPr marL="241300" marR="0" lvl="0" indent="-228600" defTabSz="914400" eaLnBrk="1" fontAlgn="auto" latinLnBrk="0" hangingPunct="1"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Results Tables</a:t>
            </a:r>
          </a:p>
          <a:p>
            <a:pPr marL="241300" marR="0" lvl="0" indent="-228600" defTabSz="91440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</p:txBody>
      </p:sp>
      <p:pic>
        <p:nvPicPr>
          <p:cNvPr id="8" name="object 6">
            <a:extLst>
              <a:ext uri="{FF2B5EF4-FFF2-40B4-BE49-F238E27FC236}">
                <a16:creationId xmlns:a16="http://schemas.microsoft.com/office/drawing/2014/main" id="{9027E4D6-F0A0-8891-4CE4-902B5EB84CA2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011818" y="377444"/>
            <a:ext cx="4856697" cy="54599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142527032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857FDA06-4173-EBB9-1E65-9D3C4A83184C}"/>
              </a:ext>
            </a:extLst>
          </p:cNvPr>
          <p:cNvSpPr txBox="1"/>
          <p:nvPr/>
        </p:nvSpPr>
        <p:spPr>
          <a:xfrm>
            <a:off x="-81690" y="0"/>
            <a:ext cx="1212620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i="0" dirty="0">
                <a:solidFill>
                  <a:srgbClr val="FFCB05"/>
                </a:solidFill>
                <a:effectLst/>
                <a:latin typeface="Helvetica" panose="020B0604020202020204" pitchFamily="34" charset="0"/>
              </a:rPr>
              <a:t>SA Rugby’s new digital fan portal BokSquad won the Best Fan Engagement Award at the 2022 South African Sport Industry Awards</a:t>
            </a:r>
            <a:r>
              <a:rPr lang="en-ZA" sz="2800" b="1" dirty="0">
                <a:solidFill>
                  <a:srgbClr val="FFCB05"/>
                </a:solidFill>
                <a:latin typeface="MTN Brighter Sans ExtraBold" pitchFamily="2" charset="77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F25AF42-8EBE-FE14-97BA-04EE8EF1901A}"/>
              </a:ext>
            </a:extLst>
          </p:cNvPr>
          <p:cNvSpPr txBox="1"/>
          <p:nvPr/>
        </p:nvSpPr>
        <p:spPr>
          <a:xfrm>
            <a:off x="1013378" y="6400556"/>
            <a:ext cx="105828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dirty="0"/>
              <a:t>Official SARU Press Release: </a:t>
            </a:r>
            <a:r>
              <a:rPr lang="en-US" dirty="0">
                <a:solidFill>
                  <a:srgbClr val="FFCB05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okSquad wins big at SA Sport Industry Awards | SA Rugby</a:t>
            </a:r>
            <a:endParaRPr lang="en-ZA" dirty="0">
              <a:solidFill>
                <a:srgbClr val="FFCB05"/>
              </a:solidFill>
            </a:endParaRPr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B3087D78-2FC9-6937-FC02-830F93F7F6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378" y="1055754"/>
            <a:ext cx="10582820" cy="5285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A5AC4F87-E271-EA31-7D11-942548A18D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449896" y="1350466"/>
            <a:ext cx="2926548" cy="247182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sz="2400" dirty="0">
              <a:latin typeface="+mj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494503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object 2">
            <a:extLst>
              <a:ext uri="{FF2B5EF4-FFF2-40B4-BE49-F238E27FC236}">
                <a16:creationId xmlns:a16="http://schemas.microsoft.com/office/drawing/2014/main" id="{EF9AD636-7B6D-441A-162F-52D3CBCE18BA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719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Match Content</a:t>
            </a:r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46662332-BE8A-5F58-96C3-9AE8C8937482}"/>
              </a:ext>
            </a:extLst>
          </p:cNvPr>
          <p:cNvSpPr txBox="1"/>
          <p:nvPr/>
        </p:nvSpPr>
        <p:spPr>
          <a:xfrm>
            <a:off x="631710" y="1647112"/>
            <a:ext cx="10721234" cy="802784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 marR="0" lvl="0" defTabSz="914400" eaLnBrk="1" fontAlgn="auto" latinLnBrk="0" hangingPunct="1"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tabLst>
                <a:tab pos="240665" algn="l"/>
                <a:tab pos="241300" algn="l"/>
              </a:tabLst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odeled on the fan experience leading up to, during, and post matches for their South African rugby team of choice.</a:t>
            </a:r>
          </a:p>
        </p:txBody>
      </p:sp>
      <p:grpSp>
        <p:nvGrpSpPr>
          <p:cNvPr id="4" name="object 4">
            <a:extLst>
              <a:ext uri="{FF2B5EF4-FFF2-40B4-BE49-F238E27FC236}">
                <a16:creationId xmlns:a16="http://schemas.microsoft.com/office/drawing/2014/main" id="{939DA74C-ED96-7A30-563D-0BC7A46F7EEE}"/>
              </a:ext>
            </a:extLst>
          </p:cNvPr>
          <p:cNvGrpSpPr/>
          <p:nvPr/>
        </p:nvGrpSpPr>
        <p:grpSpPr>
          <a:xfrm>
            <a:off x="0" y="2858611"/>
            <a:ext cx="12192000" cy="2578735"/>
            <a:chOff x="0" y="2529839"/>
            <a:chExt cx="12192000" cy="2578735"/>
          </a:xfrm>
        </p:grpSpPr>
        <p:pic>
          <p:nvPicPr>
            <p:cNvPr id="7" name="object 5">
              <a:extLst>
                <a:ext uri="{FF2B5EF4-FFF2-40B4-BE49-F238E27FC236}">
                  <a16:creationId xmlns:a16="http://schemas.microsoft.com/office/drawing/2014/main" id="{E258F23A-9509-4105-5852-5BD858A0AC3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662671" y="2548127"/>
              <a:ext cx="4529328" cy="2560320"/>
            </a:xfrm>
            <a:prstGeom prst="rect">
              <a:avLst/>
            </a:prstGeom>
          </p:spPr>
        </p:pic>
        <p:pic>
          <p:nvPicPr>
            <p:cNvPr id="9" name="object 6">
              <a:extLst>
                <a:ext uri="{FF2B5EF4-FFF2-40B4-BE49-F238E27FC236}">
                  <a16:creationId xmlns:a16="http://schemas.microsoft.com/office/drawing/2014/main" id="{34A9C804-E858-ECC2-D957-2B575ECAFA8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2548127"/>
              <a:ext cx="12191999" cy="2560320"/>
            </a:xfrm>
            <a:prstGeom prst="rect">
              <a:avLst/>
            </a:prstGeom>
          </p:spPr>
        </p:pic>
        <p:pic>
          <p:nvPicPr>
            <p:cNvPr id="10" name="object 7">
              <a:extLst>
                <a:ext uri="{FF2B5EF4-FFF2-40B4-BE49-F238E27FC236}">
                  <a16:creationId xmlns:a16="http://schemas.microsoft.com/office/drawing/2014/main" id="{56B6C9EF-0205-A580-595D-FFCBC59AEF9E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962400" y="2548127"/>
              <a:ext cx="4114800" cy="2542032"/>
            </a:xfrm>
            <a:prstGeom prst="rect">
              <a:avLst/>
            </a:prstGeom>
          </p:spPr>
        </p:pic>
        <p:pic>
          <p:nvPicPr>
            <p:cNvPr id="11" name="object 8">
              <a:extLst>
                <a:ext uri="{FF2B5EF4-FFF2-40B4-BE49-F238E27FC236}">
                  <a16:creationId xmlns:a16="http://schemas.microsoft.com/office/drawing/2014/main" id="{E6B867B2-03F2-D8C2-3B40-84F6E3680266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513064" y="2566415"/>
              <a:ext cx="3678935" cy="2542031"/>
            </a:xfrm>
            <a:prstGeom prst="rect">
              <a:avLst/>
            </a:prstGeom>
          </p:spPr>
        </p:pic>
        <p:pic>
          <p:nvPicPr>
            <p:cNvPr id="12" name="object 9">
              <a:extLst>
                <a:ext uri="{FF2B5EF4-FFF2-40B4-BE49-F238E27FC236}">
                  <a16:creationId xmlns:a16="http://schemas.microsoft.com/office/drawing/2014/main" id="{D69B7BF9-CB7C-6E0F-A77C-C102911765C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8077200" y="2563367"/>
              <a:ext cx="4114800" cy="2542031"/>
            </a:xfrm>
            <a:prstGeom prst="rect">
              <a:avLst/>
            </a:prstGeom>
          </p:spPr>
        </p:pic>
        <p:pic>
          <p:nvPicPr>
            <p:cNvPr id="14" name="object 10">
              <a:extLst>
                <a:ext uri="{FF2B5EF4-FFF2-40B4-BE49-F238E27FC236}">
                  <a16:creationId xmlns:a16="http://schemas.microsoft.com/office/drawing/2014/main" id="{3246D01E-B745-9AB7-45A3-029C54A0D650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192" y="2529839"/>
              <a:ext cx="4114799" cy="25603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9812394"/>
      </p:ext>
    </p:extLst>
  </p:cSld>
  <p:clrMapOvr>
    <a:masterClrMapping/>
  </p:clrMapOvr>
  <p:transition spd="med"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sz="2400" dirty="0">
              <a:latin typeface="+mj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494503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object 2">
            <a:extLst>
              <a:ext uri="{FF2B5EF4-FFF2-40B4-BE49-F238E27FC236}">
                <a16:creationId xmlns:a16="http://schemas.microsoft.com/office/drawing/2014/main" id="{EF9AD636-7B6D-441A-162F-52D3CBCE18BA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719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Match Content</a:t>
            </a:r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46662332-BE8A-5F58-96C3-9AE8C8937482}"/>
              </a:ext>
            </a:extLst>
          </p:cNvPr>
          <p:cNvSpPr txBox="1"/>
          <p:nvPr/>
        </p:nvSpPr>
        <p:spPr>
          <a:xfrm>
            <a:off x="631710" y="2029165"/>
            <a:ext cx="5412986" cy="3080330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355600" marR="0" lvl="0" indent="-342900" defTabSz="914400" eaLnBrk="1" fontAlgn="auto" latinLnBrk="0" hangingPunct="1">
              <a:spcBef>
                <a:spcPts val="500"/>
              </a:spcBef>
              <a:spcAft>
                <a:spcPts val="500"/>
              </a:spcAft>
              <a:buClr>
                <a:srgbClr val="F7BC37"/>
              </a:buClr>
              <a:buSzTx/>
              <a:buFont typeface="Arial" panose="020B0604020202020204" pitchFamily="34" charset="0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he way we package and guide the user through this journey will aid in rich and rewarding interactive experience for fans and create several transactional opportunities.</a:t>
            </a:r>
          </a:p>
        </p:txBody>
      </p:sp>
      <p:pic>
        <p:nvPicPr>
          <p:cNvPr id="8" name="object 6">
            <a:extLst>
              <a:ext uri="{FF2B5EF4-FFF2-40B4-BE49-F238E27FC236}">
                <a16:creationId xmlns:a16="http://schemas.microsoft.com/office/drawing/2014/main" id="{1455D43F-CAA2-D005-6614-22F4640B2A2B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897384" y="345554"/>
            <a:ext cx="4869988" cy="56038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887382902"/>
      </p:ext>
    </p:extLst>
  </p:cSld>
  <p:clrMapOvr>
    <a:masterClrMapping/>
  </p:clrMapOvr>
  <p:transition spd="med"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sz="2400" dirty="0">
              <a:latin typeface="+mj-lt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494503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object 2">
            <a:extLst>
              <a:ext uri="{FF2B5EF4-FFF2-40B4-BE49-F238E27FC236}">
                <a16:creationId xmlns:a16="http://schemas.microsoft.com/office/drawing/2014/main" id="{EF9AD636-7B6D-441A-162F-52D3CBCE18BA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719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Match Content Types</a:t>
            </a:r>
          </a:p>
        </p:txBody>
      </p:sp>
      <p:sp>
        <p:nvSpPr>
          <p:cNvPr id="4" name="object 4">
            <a:extLst>
              <a:ext uri="{FF2B5EF4-FFF2-40B4-BE49-F238E27FC236}">
                <a16:creationId xmlns:a16="http://schemas.microsoft.com/office/drawing/2014/main" id="{622642CB-ED87-72C6-AAF4-087262C4A7A5}"/>
              </a:ext>
            </a:extLst>
          </p:cNvPr>
          <p:cNvSpPr txBox="1"/>
          <p:nvPr/>
        </p:nvSpPr>
        <p:spPr>
          <a:xfrm>
            <a:off x="1041112" y="1600498"/>
            <a:ext cx="3161017" cy="4155946"/>
          </a:xfrm>
          <a:prstGeom prst="rect">
            <a:avLst/>
          </a:prstGeom>
        </p:spPr>
        <p:txBody>
          <a:bodyPr vert="horz" wrap="square" lIns="0" tIns="225425" rIns="0" bIns="0" rtlCol="0">
            <a:spAutoFit/>
          </a:bodyPr>
          <a:lstStyle/>
          <a:p>
            <a:pPr marL="9525" marR="0" lvl="0" defTabSz="914400" eaLnBrk="1" fontAlgn="auto" latinLnBrk="0" hangingPunct="1">
              <a:lnSpc>
                <a:spcPct val="100000"/>
              </a:lnSpc>
              <a:spcBef>
                <a:spcPts val="1775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       </a:t>
            </a:r>
            <a:r>
              <a:rPr kumimoji="0" sz="32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re</a:t>
            </a:r>
            <a:r>
              <a:rPr lang="en-US" sz="3200" b="1" kern="0" spc="-25" dirty="0">
                <a:solidFill>
                  <a:sysClr val="windowText" lastClr="000000"/>
                </a:solidFill>
                <a:latin typeface="+mj-lt"/>
                <a:cs typeface="Calibri"/>
              </a:rPr>
              <a:t>-</a:t>
            </a:r>
            <a:br>
              <a:rPr lang="en-US" sz="3200" b="1" kern="0" spc="-25" dirty="0">
                <a:solidFill>
                  <a:sysClr val="windowText" lastClr="000000"/>
                </a:solidFill>
                <a:latin typeface="+mj-lt"/>
                <a:cs typeface="Calibri"/>
              </a:rPr>
            </a:br>
            <a:endParaRPr kumimoji="0" sz="3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98450" marR="679450" lvl="0" indent="-28575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Injury</a:t>
            </a:r>
            <a:r>
              <a:rPr kumimoji="0" sz="1200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News</a:t>
            </a:r>
            <a:r>
              <a:rPr kumimoji="0" lang="en-US" sz="1200" b="0" i="0" u="none" strike="noStrike" kern="0" cap="none" spc="2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;</a:t>
            </a:r>
            <a:r>
              <a:rPr lang="en-US" sz="1200" kern="0" spc="200" dirty="0">
                <a:solidFill>
                  <a:sysClr val="windowText" lastClr="000000"/>
                </a:solidFill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ress</a:t>
            </a:r>
            <a:r>
              <a:rPr kumimoji="0" sz="12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Conference </a:t>
            </a:r>
            <a:r>
              <a:rPr kumimoji="0" sz="12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Line-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Ups</a:t>
            </a:r>
            <a:r>
              <a:rPr kumimoji="0" lang="en-US" sz="1200" b="0" i="0" u="none" strike="noStrike" kern="0" cap="none" spc="4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;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atch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nalysis</a:t>
            </a:r>
            <a:r>
              <a:rPr kumimoji="0" lang="en-US" sz="1200" b="0" i="0" u="none" strike="noStrike" kern="0" cap="none" spc="1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;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Score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redictor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98450" marR="0" lvl="0" indent="-285750" defTabSz="914400" eaLnBrk="1" fontAlgn="auto" latinLnBrk="0" hangingPunct="1">
              <a:lnSpc>
                <a:spcPts val="158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History</a:t>
            </a:r>
            <a:r>
              <a:rPr kumimoji="0" sz="12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of</a:t>
            </a:r>
            <a:r>
              <a:rPr kumimoji="0" sz="1200" b="0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ixture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98450" marR="490855" lvl="0" indent="-285750" defTabSz="914400" eaLnBrk="1" fontAlgn="auto" latinLnBrk="0" hangingPunct="1">
              <a:lnSpc>
                <a:spcPct val="922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layer</a:t>
            </a:r>
            <a:r>
              <a:rPr kumimoji="0" sz="12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erformance Player</a:t>
            </a:r>
            <a:r>
              <a:rPr kumimoji="0" sz="1200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endParaRPr kumimoji="0" lang="en-US" sz="1200" b="0" i="0" u="none" strike="noStrike" kern="0" cap="none" spc="-45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98450" marR="490855" lvl="0" indent="-285750" defTabSz="914400" eaLnBrk="1" fontAlgn="auto" latinLnBrk="0" hangingPunct="1">
              <a:lnSpc>
                <a:spcPct val="922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rofiles Pundit</a:t>
            </a:r>
            <a:r>
              <a:rPr kumimoji="0" sz="1200" b="0" i="0" u="none" strike="noStrike" kern="0" cap="none" spc="-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Opinions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98450" marR="0" lvl="0" indent="-285750" defTabSz="914400" eaLnBrk="1" fontAlgn="auto" latinLnBrk="0" hangingPunct="1">
              <a:lnSpc>
                <a:spcPts val="165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200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Who’s</a:t>
            </a:r>
            <a:r>
              <a:rPr kumimoji="0" sz="1200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Watching</a:t>
            </a:r>
            <a:r>
              <a:rPr kumimoji="0" sz="12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&amp;</a:t>
            </a:r>
            <a:r>
              <a:rPr kumimoji="0" sz="1200" b="0" i="0" u="none" strike="noStrike" kern="0" cap="none" spc="-1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Where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98450" marR="299085" lvl="0" indent="-285750" defTabSz="914400" eaLnBrk="1" fontAlgn="auto" latinLnBrk="0" hangingPunct="1">
              <a:lnSpc>
                <a:spcPct val="895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2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re-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atch</a:t>
            </a:r>
            <a:r>
              <a:rPr kumimoji="0" sz="1200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Banter</a:t>
            </a:r>
            <a:r>
              <a:rPr kumimoji="0" lang="en-US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;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Who</a:t>
            </a:r>
            <a:r>
              <a:rPr kumimoji="0" sz="1200" b="0" i="0" u="none" strike="noStrike" kern="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Said</a:t>
            </a:r>
            <a:r>
              <a:rPr kumimoji="0" sz="1200" b="0" i="0" u="none" strike="noStrike" kern="0" cap="none" spc="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What 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Influencing</a:t>
            </a:r>
            <a:r>
              <a:rPr kumimoji="0" sz="1200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actors</a:t>
            </a:r>
            <a:r>
              <a:rPr kumimoji="0" lang="en-US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;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inal</a:t>
            </a:r>
            <a:r>
              <a:rPr kumimoji="0" sz="1200" b="0" i="0" u="none" strike="noStrike" kern="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Injury</a:t>
            </a:r>
            <a:r>
              <a:rPr kumimoji="0" sz="12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Report</a:t>
            </a:r>
            <a:r>
              <a:rPr kumimoji="0" lang="en-US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;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inal</a:t>
            </a:r>
            <a:r>
              <a:rPr kumimoji="0" sz="1200" b="0" i="0" u="none" strike="noStrike" kern="0" cap="none" spc="-1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Line-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Ups</a:t>
            </a:r>
            <a:r>
              <a:rPr lang="en-US" sz="1200" kern="0" spc="365" dirty="0">
                <a:solidFill>
                  <a:sysClr val="windowText" lastClr="000000"/>
                </a:solidFill>
                <a:latin typeface="+mj-lt"/>
                <a:cs typeface="Calibri"/>
              </a:rPr>
              <a:t>;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actics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Score</a:t>
            </a:r>
            <a:r>
              <a:rPr kumimoji="0" sz="1200" b="0" i="0" u="none" strike="noStrike" kern="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redictor</a:t>
            </a:r>
            <a:r>
              <a:rPr lang="en-US" sz="1200" kern="0" spc="400" dirty="0">
                <a:solidFill>
                  <a:sysClr val="windowText" lastClr="000000"/>
                </a:solidFill>
                <a:latin typeface="+mj-lt"/>
                <a:cs typeface="Calibri"/>
              </a:rPr>
              <a:t>; </a:t>
            </a:r>
            <a:r>
              <a:rPr kumimoji="0" sz="12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ravel</a:t>
            </a:r>
            <a:r>
              <a:rPr kumimoji="0" sz="1200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lans </a:t>
            </a:r>
            <a:r>
              <a:rPr kumimoji="0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erchandise</a:t>
            </a:r>
            <a:r>
              <a:rPr lang="en-US" sz="1200" kern="0" spc="225" dirty="0">
                <a:solidFill>
                  <a:sysClr val="windowText" lastClr="000000"/>
                </a:solidFill>
                <a:latin typeface="+mj-lt"/>
                <a:cs typeface="Calibri"/>
              </a:rPr>
              <a:t>; </a:t>
            </a:r>
            <a:r>
              <a:rPr kumimoji="0" sz="12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an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Notice</a:t>
            </a:r>
            <a:r>
              <a:rPr kumimoji="0" sz="1200" b="0" i="0" u="none" strike="noStrike" kern="0" cap="none" spc="-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Board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7BCBBBEE-BBD8-DCFD-5368-A3B7420E260F}"/>
              </a:ext>
            </a:extLst>
          </p:cNvPr>
          <p:cNvSpPr txBox="1"/>
          <p:nvPr/>
        </p:nvSpPr>
        <p:spPr>
          <a:xfrm>
            <a:off x="5248963" y="1600498"/>
            <a:ext cx="2848785" cy="3392917"/>
          </a:xfrm>
          <a:prstGeom prst="rect">
            <a:avLst/>
          </a:prstGeom>
        </p:spPr>
        <p:txBody>
          <a:bodyPr vert="horz" wrap="square" lIns="0" tIns="225425" rIns="0" bIns="0" rtlCol="0">
            <a:spAutoFit/>
          </a:bodyPr>
          <a:lstStyle/>
          <a:p>
            <a:pPr marL="9525" marR="0" lvl="0" defTabSz="914400" eaLnBrk="1" fontAlgn="auto" latinLnBrk="0" hangingPunct="1">
              <a:lnSpc>
                <a:spcPct val="100000"/>
              </a:lnSpc>
              <a:spcBef>
                <a:spcPts val="1775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32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     During-</a:t>
            </a:r>
            <a:br>
              <a:rPr kumimoji="0" lang="en-US" sz="32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</a:br>
            <a:endParaRPr kumimoji="0" sz="3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98450" marR="679450" lvl="0" indent="-28575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Live Scores</a:t>
            </a:r>
          </a:p>
          <a:p>
            <a:pPr marL="298450" marR="679450" lvl="0" indent="-28575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Live text commentary &amp; audio Live Images</a:t>
            </a:r>
          </a:p>
          <a:p>
            <a:pPr marL="298450" marR="679450" lvl="0" indent="-28575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atch stats</a:t>
            </a:r>
          </a:p>
          <a:p>
            <a:pPr marL="298450" marR="679450" lvl="0" indent="-28575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In-line Social media</a:t>
            </a:r>
          </a:p>
          <a:p>
            <a:pPr marL="298450" marR="679450" lvl="0" indent="-28575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Historical data More on request…</a:t>
            </a:r>
          </a:p>
          <a:p>
            <a:pPr marL="298450" marR="679450" lvl="0" indent="-285750" defTabSz="91440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200" b="0" i="0" u="none" strike="noStrike" kern="0" cap="none" spc="-2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14B749ED-850E-DE1A-47D1-641A8C114FA3}"/>
              </a:ext>
            </a:extLst>
          </p:cNvPr>
          <p:cNvSpPr txBox="1"/>
          <p:nvPr/>
        </p:nvSpPr>
        <p:spPr>
          <a:xfrm>
            <a:off x="9144583" y="1600498"/>
            <a:ext cx="3047417" cy="4490332"/>
          </a:xfrm>
          <a:prstGeom prst="rect">
            <a:avLst/>
          </a:prstGeom>
        </p:spPr>
        <p:txBody>
          <a:bodyPr vert="horz" wrap="square" lIns="0" tIns="225425" rIns="0" bIns="0" rtlCol="0">
            <a:spAutoFit/>
          </a:bodyPr>
          <a:lstStyle/>
          <a:p>
            <a:pPr marL="9525" marR="0" lvl="0" defTabSz="914400" eaLnBrk="1" fontAlgn="auto" latinLnBrk="0" hangingPunct="1">
              <a:lnSpc>
                <a:spcPct val="100000"/>
              </a:lnSpc>
              <a:spcBef>
                <a:spcPts val="1775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sz="3200" b="1" kern="0" spc="-25" dirty="0">
                <a:solidFill>
                  <a:sysClr val="windowText" lastClr="000000"/>
                </a:solidFill>
                <a:latin typeface="+mj-lt"/>
                <a:cs typeface="Calibri"/>
              </a:rPr>
              <a:t>       </a:t>
            </a:r>
            <a:r>
              <a:rPr kumimoji="0" lang="en-US" sz="32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ost-</a:t>
            </a:r>
            <a:br>
              <a:rPr kumimoji="0" lang="en-US" sz="32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</a:br>
            <a:endParaRPr kumimoji="0" sz="3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ost Match Analysis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atch Report Player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erformance Ratings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an of the Match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Stand-Out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erformance Press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Conference.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an Winner.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nnouncements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erchandise Player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Interviews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Who Said What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an Reactions </a:t>
            </a:r>
          </a:p>
          <a:p>
            <a:pPr marL="298450" marR="679450" lvl="0" indent="-285750" defTabSz="91440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2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an Notice Board.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D0CD4074-0CF3-6D98-14B0-27D560F040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1112" y="1717176"/>
            <a:ext cx="691298" cy="691298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A027989-B61C-F2DF-B972-83C354037A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8795" y="1717176"/>
            <a:ext cx="691298" cy="691298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E7E3314C-97A1-F263-301F-FF0956D18B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12084" y="1707405"/>
            <a:ext cx="691298" cy="691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456077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sz="2400" dirty="0">
              <a:latin typeface="+mj-lt"/>
            </a:endParaRP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EF9AD636-7B6D-441A-162F-52D3CBCE18BA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719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Stand Alone Content</a:t>
            </a:r>
          </a:p>
        </p:txBody>
      </p:sp>
      <p:sp>
        <p:nvSpPr>
          <p:cNvPr id="3" name="object 4">
            <a:extLst>
              <a:ext uri="{FF2B5EF4-FFF2-40B4-BE49-F238E27FC236}">
                <a16:creationId xmlns:a16="http://schemas.microsoft.com/office/drawing/2014/main" id="{AC1DB79A-AECB-5BC1-0DA0-223F45AC43DF}"/>
              </a:ext>
            </a:extLst>
          </p:cNvPr>
          <p:cNvSpPr txBox="1"/>
          <p:nvPr/>
        </p:nvSpPr>
        <p:spPr>
          <a:xfrm>
            <a:off x="631710" y="1426352"/>
            <a:ext cx="5837614" cy="5224892"/>
          </a:xfrm>
          <a:prstGeom prst="rect">
            <a:avLst/>
          </a:prstGeom>
        </p:spPr>
        <p:txBody>
          <a:bodyPr vert="horz" wrap="square" lIns="0" tIns="165735" rIns="0" bIns="0" rtlCol="0">
            <a:spAutoFit/>
          </a:bodyPr>
          <a:lstStyle/>
          <a:p>
            <a:pPr marL="356870" marR="0" lvl="0" indent="-344805" defTabSz="914400" eaLnBrk="1" fontAlgn="auto" latinLnBrk="0" hangingPunct="1">
              <a:lnSpc>
                <a:spcPct val="200000"/>
              </a:lnSpc>
              <a:spcBef>
                <a:spcPts val="1305"/>
              </a:spcBef>
              <a:spcAft>
                <a:spcPts val="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356870" algn="l"/>
                <a:tab pos="357505" algn="l"/>
              </a:tabLst>
              <a:defRPr/>
            </a:pPr>
            <a:r>
              <a:rPr kumimoji="0" lang="en-ZA" sz="2400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Exclusive BokSquad video content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356870" marR="0" lvl="0" indent="-344805" defTabSz="914400" eaLnBrk="1" fontAlgn="auto" latinLnBrk="0" hangingPunct="1">
              <a:lnSpc>
                <a:spcPct val="200000"/>
              </a:lnSpc>
              <a:spcBef>
                <a:spcPts val="1205"/>
              </a:spcBef>
              <a:spcAft>
                <a:spcPts val="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356870" algn="l"/>
                <a:tab pos="357505" algn="l"/>
              </a:tabLst>
              <a:defRPr/>
            </a:pPr>
            <a:r>
              <a:rPr kumimoji="0" lang="en-ZA" sz="24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Fan Experiences </a:t>
            </a:r>
          </a:p>
          <a:p>
            <a:pPr marL="356870" marR="0" lvl="0" indent="-344805" defTabSz="914400" eaLnBrk="1" fontAlgn="auto" latinLnBrk="0" hangingPunct="1">
              <a:lnSpc>
                <a:spcPct val="200000"/>
              </a:lnSpc>
              <a:spcBef>
                <a:spcPts val="1205"/>
              </a:spcBef>
              <a:spcAft>
                <a:spcPts val="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356870" algn="l"/>
                <a:tab pos="357505" algn="l"/>
              </a:tabLst>
              <a:defRPr/>
            </a:pPr>
            <a:r>
              <a:rPr kumimoji="0" lang="en-ZA" sz="24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Gaming and Competitions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356870" marR="0" lvl="0" indent="-344805" defTabSz="914400" eaLnBrk="1" fontAlgn="auto" latinLnBrk="0" hangingPunct="1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356870" algn="l"/>
                <a:tab pos="357505" algn="l"/>
              </a:tabLst>
              <a:defRPr/>
            </a:pPr>
            <a:r>
              <a:rPr kumimoji="0" sz="24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In-</a:t>
            </a:r>
            <a:r>
              <a:rPr kumimoji="0" sz="2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Game</a:t>
            </a:r>
            <a:r>
              <a:rPr kumimoji="0" sz="2400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 </a:t>
            </a:r>
            <a:r>
              <a:rPr kumimoji="0" sz="2400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Commentary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  <a:p>
            <a:pPr marL="356870" marR="0" lvl="0" indent="-344805" defTabSz="914400" eaLnBrk="1" fontAlgn="auto" latinLnBrk="0" hangingPunct="1">
              <a:lnSpc>
                <a:spcPct val="200000"/>
              </a:lnSpc>
              <a:spcBef>
                <a:spcPts val="805"/>
              </a:spcBef>
              <a:spcAft>
                <a:spcPts val="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356870" algn="l"/>
                <a:tab pos="357505" algn="l"/>
              </a:tabLst>
              <a:defRPr/>
            </a:pPr>
            <a:r>
              <a:rPr kumimoji="0" lang="en-ZA" sz="2400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" panose="00000500000000000000" pitchFamily="50" charset="0"/>
                <a:cs typeface="Calibri"/>
              </a:rPr>
              <a:t>Exclusive offers.</a:t>
            </a:r>
          </a:p>
          <a:p>
            <a:pPr marL="356870" marR="0" lvl="0" indent="0" defTabSz="914400" eaLnBrk="1" fontAlgn="auto" latinLnBrk="0" hangingPunct="1">
              <a:lnSpc>
                <a:spcPct val="2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MTN Brighter Sans" panose="00000500000000000000" pitchFamily="50" charset="0"/>
              <a:cs typeface="Calibri"/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4AED9F8E-0CBB-8F30-DAD1-81897F310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3365" y="265984"/>
            <a:ext cx="4078025" cy="585284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421822862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C6C4DE-65CD-A240-BDB2-7382EEB8B4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5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E296D-8B4A-AE4F-803D-9698D15DA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395" y="2673984"/>
            <a:ext cx="3657237" cy="1403654"/>
          </a:xfrm>
        </p:spPr>
        <p:txBody>
          <a:bodyPr/>
          <a:lstStyle/>
          <a:p>
            <a:r>
              <a:rPr lang="en-GB" dirty="0"/>
              <a:t>Fan Experienc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5B947-971C-3D4C-BE8A-E16874024E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3180200-F61E-E8E7-0BC0-35E028FC1215}"/>
              </a:ext>
            </a:extLst>
          </p:cNvPr>
          <p:cNvGrpSpPr>
            <a:grpSpLocks noChangeAspect="1"/>
          </p:cNvGrpSpPr>
          <p:nvPr/>
        </p:nvGrpSpPr>
        <p:grpSpPr>
          <a:xfrm>
            <a:off x="8966531" y="5484233"/>
            <a:ext cx="2916000" cy="1033034"/>
            <a:chOff x="1543336" y="4626248"/>
            <a:chExt cx="5335255" cy="1890117"/>
          </a:xfrm>
        </p:grpSpPr>
        <p:pic>
          <p:nvPicPr>
            <p:cNvPr id="5" name="Picture 4" descr="Logo&#10;&#10;Description automatically generated">
              <a:extLst>
                <a:ext uri="{FF2B5EF4-FFF2-40B4-BE49-F238E27FC236}">
                  <a16:creationId xmlns:a16="http://schemas.microsoft.com/office/drawing/2014/main" id="{924AB14A-DEA6-6445-9785-BB807253F1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43336" y="4626248"/>
              <a:ext cx="2237828" cy="1890117"/>
            </a:xfrm>
            <a:prstGeom prst="rect">
              <a:avLst/>
            </a:prstGeom>
          </p:spPr>
        </p:pic>
        <p:pic>
          <p:nvPicPr>
            <p:cNvPr id="6" name="Picture 5" descr="Logo&#10;&#10;Description automatically generated">
              <a:extLst>
                <a:ext uri="{FF2B5EF4-FFF2-40B4-BE49-F238E27FC236}">
                  <a16:creationId xmlns:a16="http://schemas.microsoft.com/office/drawing/2014/main" id="{EA2DBA69-D450-4227-F658-D8581118F4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20571" y="4851263"/>
              <a:ext cx="2758020" cy="1381763"/>
            </a:xfrm>
            <a:prstGeom prst="rect">
              <a:avLst/>
            </a:prstGeom>
          </p:spPr>
        </p:pic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E9BEECD-23C7-BD66-5797-AE13823D11FA}"/>
                </a:ext>
              </a:extLst>
            </p:cNvPr>
            <p:cNvCxnSpPr/>
            <p:nvPr/>
          </p:nvCxnSpPr>
          <p:spPr>
            <a:xfrm>
              <a:off x="3781164" y="4909589"/>
              <a:ext cx="0" cy="1323437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68873200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76937-6659-B678-9D2C-82BFD0F1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n </a:t>
            </a:r>
            <a:r>
              <a:rPr lang="en-GB" dirty="0">
                <a:solidFill>
                  <a:schemeClr val="tx2"/>
                </a:solidFill>
              </a:rPr>
              <a:t>Experienc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87AE36-3EB3-9238-0798-F6D666A862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4543" y="1213174"/>
            <a:ext cx="11242914" cy="1370999"/>
          </a:xfrm>
        </p:spPr>
        <p:txBody>
          <a:bodyPr/>
          <a:lstStyle/>
          <a:p>
            <a:pPr algn="ctr"/>
            <a:r>
              <a:rPr lang="en-ZA" sz="2700" dirty="0">
                <a:latin typeface="MTN Brighter Sans" panose="00000500000000000000" pitchFamily="2" charset="0"/>
                <a:ea typeface="Batang" panose="02030600000101010101" pitchFamily="18" charset="-127"/>
                <a:cs typeface="Calibri" panose="020F0502020204030204" pitchFamily="34" charset="0"/>
                <a:sym typeface="Raleway"/>
              </a:rPr>
              <a:t>As MTN continues its journey from being a telco to becoming a techno, we deliver the best digital subscription services to our customers by leveraging our sponsorships, for example: the Boks.</a:t>
            </a:r>
            <a:endParaRPr lang="en-ZA" sz="2700" dirty="0">
              <a:latin typeface="MTN Brighter Sans" panose="00000500000000000000" pitchFamily="2" charset="0"/>
              <a:ea typeface="Batang" panose="02030600000101010101" pitchFamily="18" charset="-127"/>
              <a:cs typeface="Calibri" panose="020F0502020204030204" pitchFamily="34" charset="0"/>
            </a:endParaRPr>
          </a:p>
          <a:p>
            <a:pPr algn="ctr"/>
            <a:endParaRPr lang="en-GB" sz="2700" dirty="0"/>
          </a:p>
        </p:txBody>
      </p:sp>
      <p:pic>
        <p:nvPicPr>
          <p:cNvPr id="8" name="Online Media 6" title="BokSquad: From Blue Downs to watch the Boks">
            <a:hlinkClick r:id="" action="ppaction://media"/>
            <a:extLst>
              <a:ext uri="{FF2B5EF4-FFF2-40B4-BE49-F238E27FC236}">
                <a16:creationId xmlns:a16="http://schemas.microsoft.com/office/drawing/2014/main" id="{8DAF5B15-1429-74F1-567D-B963120A5EDA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5"/>
          <a:stretch>
            <a:fillRect/>
          </a:stretch>
        </p:blipFill>
        <p:spPr>
          <a:xfrm>
            <a:off x="259973" y="2899745"/>
            <a:ext cx="5942043" cy="3357254"/>
          </a:xfrm>
          <a:prstGeom prst="rect">
            <a:avLst/>
          </a:prstGeom>
          <a:ln w="25400">
            <a:solidFill>
              <a:schemeClr val="tx1"/>
            </a:solidFill>
          </a:ln>
        </p:spPr>
      </p:pic>
      <p:pic>
        <p:nvPicPr>
          <p:cNvPr id="9" name="IMG_9213">
            <a:hlinkClick r:id="" action="ppaction://media"/>
            <a:extLst>
              <a:ext uri="{FF2B5EF4-FFF2-40B4-BE49-F238E27FC236}">
                <a16:creationId xmlns:a16="http://schemas.microsoft.com/office/drawing/2014/main" id="{1AD76D53-B6FE-2980-E5BE-A3876DF24025}"/>
              </a:ext>
            </a:extLst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604836" y="2912701"/>
            <a:ext cx="5325988" cy="3344298"/>
          </a:xfrm>
          <a:prstGeom prst="rect">
            <a:avLst/>
          </a:prstGeom>
          <a:ln w="25400">
            <a:solidFill>
              <a:schemeClr val="tx1"/>
            </a:solidFill>
          </a:ln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63B4B085-C779-6B27-4F7E-170FBCD5F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9593" y="542711"/>
            <a:ext cx="297077" cy="174625"/>
          </a:xfrm>
        </p:spPr>
        <p:txBody>
          <a:bodyPr/>
          <a:lstStyle/>
          <a:p>
            <a:fld id="{6C9EDA83-5074-4C24-8467-F331177C9D01}" type="slidenum">
              <a:rPr lang="en-ZA" smtClean="0"/>
              <a:pPr/>
              <a:t>25</a:t>
            </a:fld>
            <a:endParaRPr lang="en-ZA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E43F2A8-0446-CE14-5F9A-B0543B061230}"/>
              </a:ext>
            </a:extLst>
          </p:cNvPr>
          <p:cNvSpPr txBox="1"/>
          <p:nvPr/>
        </p:nvSpPr>
        <p:spPr>
          <a:xfrm>
            <a:off x="2311685" y="6387905"/>
            <a:ext cx="20229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chemeClr val="tx2"/>
                </a:solidFill>
              </a:rPr>
              <a:t>Click to Play</a:t>
            </a: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FB87BBD-522D-CDB8-59AD-2AC4E6E27977}"/>
              </a:ext>
            </a:extLst>
          </p:cNvPr>
          <p:cNvSpPr txBox="1"/>
          <p:nvPr/>
        </p:nvSpPr>
        <p:spPr>
          <a:xfrm>
            <a:off x="8256335" y="6387905"/>
            <a:ext cx="20229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chemeClr val="tx2"/>
                </a:solidFill>
              </a:rPr>
              <a:t>Click to Pla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56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354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  <p:video>
              <p:cMediaNode vol="80000">
                <p:cTn id="21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C6C4DE-65CD-A240-BDB2-7382EEB8B4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6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E296D-8B4A-AE4F-803D-9698D15DA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395" y="2673984"/>
            <a:ext cx="5115330" cy="2096151"/>
          </a:xfrm>
        </p:spPr>
        <p:txBody>
          <a:bodyPr/>
          <a:lstStyle/>
          <a:p>
            <a:r>
              <a:rPr lang="en-GB" dirty="0"/>
              <a:t>Activations and Campaign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5B947-971C-3D4C-BE8A-E16874024E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870BEBD-2397-22B9-70F0-EC9C0CF82997}"/>
              </a:ext>
            </a:extLst>
          </p:cNvPr>
          <p:cNvGrpSpPr>
            <a:grpSpLocks noChangeAspect="1"/>
          </p:cNvGrpSpPr>
          <p:nvPr/>
        </p:nvGrpSpPr>
        <p:grpSpPr>
          <a:xfrm>
            <a:off x="8966531" y="5484233"/>
            <a:ext cx="2916000" cy="1033034"/>
            <a:chOff x="1543336" y="4626248"/>
            <a:chExt cx="5335255" cy="1890117"/>
          </a:xfrm>
        </p:grpSpPr>
        <p:pic>
          <p:nvPicPr>
            <p:cNvPr id="5" name="Picture 4" descr="Logo&#10;&#10;Description automatically generated">
              <a:extLst>
                <a:ext uri="{FF2B5EF4-FFF2-40B4-BE49-F238E27FC236}">
                  <a16:creationId xmlns:a16="http://schemas.microsoft.com/office/drawing/2014/main" id="{AC659B15-48F9-7531-F2F7-76CB9A88CD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43336" y="4626248"/>
              <a:ext cx="2237828" cy="1890117"/>
            </a:xfrm>
            <a:prstGeom prst="rect">
              <a:avLst/>
            </a:prstGeom>
          </p:spPr>
        </p:pic>
        <p:pic>
          <p:nvPicPr>
            <p:cNvPr id="6" name="Picture 5" descr="Logo&#10;&#10;Description automatically generated">
              <a:extLst>
                <a:ext uri="{FF2B5EF4-FFF2-40B4-BE49-F238E27FC236}">
                  <a16:creationId xmlns:a16="http://schemas.microsoft.com/office/drawing/2014/main" id="{FA02E25B-F616-3006-354B-27D3F73664E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20571" y="4851263"/>
              <a:ext cx="2758020" cy="1381763"/>
            </a:xfrm>
            <a:prstGeom prst="rect">
              <a:avLst/>
            </a:prstGeom>
          </p:spPr>
        </p:pic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D6BCDEF2-681F-844E-109A-CE3CD9D8D8D6}"/>
                </a:ext>
              </a:extLst>
            </p:cNvPr>
            <p:cNvCxnSpPr/>
            <p:nvPr/>
          </p:nvCxnSpPr>
          <p:spPr>
            <a:xfrm>
              <a:off x="3781164" y="4909589"/>
              <a:ext cx="0" cy="1323437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1476576080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76937-6659-B678-9D2C-82BFD0F1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adium </a:t>
            </a:r>
            <a:r>
              <a:rPr lang="en-GB" dirty="0">
                <a:solidFill>
                  <a:schemeClr val="tx2"/>
                </a:solidFill>
              </a:rPr>
              <a:t>Activ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2CBB66-0845-57F5-325F-6561C732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27</a:t>
            </a:fld>
            <a:endParaRPr lang="en-ZA" dirty="0"/>
          </a:p>
        </p:txBody>
      </p:sp>
      <p:pic>
        <p:nvPicPr>
          <p:cNvPr id="4" name="MTN CTN activation - 16 July '22">
            <a:hlinkClick r:id="" action="ppaction://media"/>
            <a:extLst>
              <a:ext uri="{FF2B5EF4-FFF2-40B4-BE49-F238E27FC236}">
                <a16:creationId xmlns:a16="http://schemas.microsoft.com/office/drawing/2014/main" id="{E31FFD41-8C6F-204D-9B8B-3A9B715C069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699965" y="1217869"/>
            <a:ext cx="2768585" cy="4890686"/>
          </a:xfrm>
          <a:prstGeom prst="rect">
            <a:avLst/>
          </a:prstGeom>
        </p:spPr>
      </p:pic>
      <p:pic>
        <p:nvPicPr>
          <p:cNvPr id="5" name="MTN Bloem activation - 9 July '22">
            <a:hlinkClick r:id="" action="ppaction://media"/>
            <a:extLst>
              <a:ext uri="{FF2B5EF4-FFF2-40B4-BE49-F238E27FC236}">
                <a16:creationId xmlns:a16="http://schemas.microsoft.com/office/drawing/2014/main" id="{EA12605D-F57C-132F-5ADB-CCF5BF20E183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492105" y="1217869"/>
            <a:ext cx="3657600" cy="48768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FB7D2E7-B465-3903-11AD-148578A201A8}"/>
              </a:ext>
            </a:extLst>
          </p:cNvPr>
          <p:cNvSpPr txBox="1"/>
          <p:nvPr/>
        </p:nvSpPr>
        <p:spPr>
          <a:xfrm>
            <a:off x="2309410" y="6263243"/>
            <a:ext cx="20229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chemeClr val="tx2"/>
                </a:solidFill>
              </a:rPr>
              <a:t>Click to Play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A82DB3-2C83-A977-7079-D285BD9582DE}"/>
              </a:ext>
            </a:extLst>
          </p:cNvPr>
          <p:cNvSpPr txBox="1"/>
          <p:nvPr/>
        </p:nvSpPr>
        <p:spPr>
          <a:xfrm>
            <a:off x="7072762" y="6263243"/>
            <a:ext cx="20229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chemeClr val="tx2"/>
                </a:solidFill>
              </a:rPr>
              <a:t>Click to Pla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6542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521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9390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seq concurrent="1" nextAc="seek">
              <p:cTn id="16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7" fill="hold">
                      <p:stCondLst>
                        <p:cond delay="0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0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21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video>
              <p:cMediaNode vol="80000">
                <p:cTn id="2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2">
            <a:extLst>
              <a:ext uri="{FF2B5EF4-FFF2-40B4-BE49-F238E27FC236}">
                <a16:creationId xmlns:a16="http://schemas.microsoft.com/office/drawing/2014/main" id="{5C33893C-9FE7-E7AC-9637-E9BADF89A2D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142" y="1071471"/>
            <a:ext cx="2644852" cy="519177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413D5E-04AB-2D0E-3F20-8E91419C256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184" t="5481" r="8184" b="1"/>
          <a:stretch/>
        </p:blipFill>
        <p:spPr>
          <a:xfrm>
            <a:off x="1170610" y="1793173"/>
            <a:ext cx="2211917" cy="4300813"/>
          </a:xfrm>
          <a:prstGeom prst="roundRect">
            <a:avLst>
              <a:gd name="adj" fmla="val 9034"/>
            </a:avLst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B676937-6659-B678-9D2C-82BFD0F1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bscriber </a:t>
            </a:r>
            <a:r>
              <a:rPr lang="en-GB" dirty="0">
                <a:solidFill>
                  <a:schemeClr val="tx2"/>
                </a:solidFill>
              </a:rPr>
              <a:t>Acquisition Campaigns (OnePin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2CBB66-0845-57F5-325F-6561C732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28</a:t>
            </a:fld>
            <a:endParaRPr lang="en-ZA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E1685F-BC93-9E69-8DD5-DB04E3D902F5}"/>
              </a:ext>
            </a:extLst>
          </p:cNvPr>
          <p:cNvSpPr txBox="1"/>
          <p:nvPr/>
        </p:nvSpPr>
        <p:spPr>
          <a:xfrm>
            <a:off x="1170610" y="2170919"/>
            <a:ext cx="2211917" cy="2605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en-US" sz="1600" dirty="0">
                <a:effectLst/>
                <a:latin typeface="SF Pro Display" pitchFamily="2" charset="0"/>
                <a:ea typeface="SF Pro Display" pitchFamily="2" charset="0"/>
              </a:rPr>
              <a:t>Catch the Boks in action </a:t>
            </a:r>
          </a:p>
          <a:p>
            <a:pPr marR="5080" algn="ctr">
              <a:lnSpc>
                <a:spcPct val="100000"/>
              </a:lnSpc>
              <a:spcBef>
                <a:spcPts val="100"/>
              </a:spcBef>
            </a:pPr>
            <a:endParaRPr lang="en-US" sz="1600" dirty="0">
              <a:latin typeface="SF Pro Display" pitchFamily="2" charset="0"/>
              <a:ea typeface="SF Pro Display" pitchFamily="2" charset="0"/>
            </a:endParaRPr>
          </a:p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en-US" sz="1600" dirty="0">
                <a:effectLst/>
                <a:latin typeface="SF Pro Display" pitchFamily="2" charset="0"/>
                <a:ea typeface="SF Pro Display" pitchFamily="2" charset="0"/>
              </a:rPr>
              <a:t>Join BokSquad &amp; you could WIN tickets to SA vs the All Blacks! </a:t>
            </a:r>
          </a:p>
          <a:p>
            <a:pPr marR="5080" algn="ctr">
              <a:lnSpc>
                <a:spcPct val="100000"/>
              </a:lnSpc>
              <a:spcBef>
                <a:spcPts val="100"/>
              </a:spcBef>
            </a:pPr>
            <a:endParaRPr lang="en-US" sz="1600" dirty="0">
              <a:latin typeface="SF Pro Display" pitchFamily="2" charset="0"/>
              <a:ea typeface="SF Pro Display" pitchFamily="2" charset="0"/>
            </a:endParaRPr>
          </a:p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en-US" sz="1600" dirty="0">
                <a:effectLst/>
                <a:latin typeface="SF Pro Display" pitchFamily="2" charset="0"/>
                <a:ea typeface="SF Pro Display" pitchFamily="2" charset="0"/>
              </a:rPr>
              <a:t>Click Accept &amp; get the 1st day FREE only R3/day</a:t>
            </a:r>
            <a:endParaRPr lang="en-US" sz="1600" dirty="0">
              <a:latin typeface="SF Pro Display" pitchFamily="2" charset="0"/>
              <a:ea typeface="SF Pro Display" pitchFamily="2" charset="0"/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61A0C13-A988-9585-220F-95D91B61DF6A}"/>
              </a:ext>
            </a:extLst>
          </p:cNvPr>
          <p:cNvSpPr txBox="1"/>
          <p:nvPr/>
        </p:nvSpPr>
        <p:spPr>
          <a:xfrm>
            <a:off x="919466" y="6346368"/>
            <a:ext cx="2714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FFC000"/>
                </a:solidFill>
              </a:rPr>
              <a:t>Call to action Message</a:t>
            </a:r>
          </a:p>
        </p:txBody>
      </p:sp>
      <p:pic>
        <p:nvPicPr>
          <p:cNvPr id="13" name="Imagen 2">
            <a:extLst>
              <a:ext uri="{FF2B5EF4-FFF2-40B4-BE49-F238E27FC236}">
                <a16:creationId xmlns:a16="http://schemas.microsoft.com/office/drawing/2014/main" id="{8BAE2212-FAC5-CD62-9141-E1170288D8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1020" y="1071471"/>
            <a:ext cx="2644852" cy="519177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DDC9AE3-28D9-2BA7-56EC-0E560542544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184" t="5481" r="8184" b="1"/>
          <a:stretch/>
        </p:blipFill>
        <p:spPr>
          <a:xfrm>
            <a:off x="5087488" y="1793173"/>
            <a:ext cx="2211917" cy="4300813"/>
          </a:xfrm>
          <a:prstGeom prst="roundRect">
            <a:avLst>
              <a:gd name="adj" fmla="val 9034"/>
            </a:avLst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BA576F7-15C8-F89F-4389-DE452163495A}"/>
              </a:ext>
            </a:extLst>
          </p:cNvPr>
          <p:cNvSpPr txBox="1"/>
          <p:nvPr/>
        </p:nvSpPr>
        <p:spPr>
          <a:xfrm>
            <a:off x="5087488" y="2170919"/>
            <a:ext cx="2211917" cy="2346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en-US" sz="1600" dirty="0">
                <a:effectLst/>
                <a:latin typeface="SF Pro Display" pitchFamily="2" charset="0"/>
                <a:ea typeface="SF Pro Display" pitchFamily="2" charset="0"/>
              </a:rPr>
              <a:t>Click Accept to confirm your subscription @R3/day</a:t>
            </a:r>
          </a:p>
          <a:p>
            <a:pPr marR="5080" algn="ctr">
              <a:lnSpc>
                <a:spcPct val="100000"/>
              </a:lnSpc>
              <a:spcBef>
                <a:spcPts val="100"/>
              </a:spcBef>
            </a:pPr>
            <a:endParaRPr lang="en-US" sz="1600" dirty="0">
              <a:effectLst/>
              <a:latin typeface="SF Pro Display" pitchFamily="2" charset="0"/>
              <a:ea typeface="SF Pro Display" pitchFamily="2" charset="0"/>
            </a:endParaRPr>
          </a:p>
          <a:p>
            <a:pPr marR="5080" algn="ctr">
              <a:lnSpc>
                <a:spcPct val="100000"/>
              </a:lnSpc>
              <a:spcBef>
                <a:spcPts val="100"/>
              </a:spcBef>
            </a:pPr>
            <a:r>
              <a:rPr lang="en-US" sz="1600" dirty="0">
                <a:effectLst/>
                <a:latin typeface="SF Pro Display" pitchFamily="2" charset="0"/>
                <a:ea typeface="SF Pro Display" pitchFamily="2" charset="0"/>
              </a:rPr>
              <a:t> HURRY! You don't want to miss the game of the year! SA vs the All Blacks!</a:t>
            </a:r>
          </a:p>
          <a:p>
            <a:pPr marR="5080" algn="ctr">
              <a:lnSpc>
                <a:spcPct val="100000"/>
              </a:lnSpc>
              <a:spcBef>
                <a:spcPts val="100"/>
              </a:spcBef>
            </a:pPr>
            <a:endParaRPr lang="en-US" sz="1600" dirty="0">
              <a:effectLst/>
              <a:latin typeface="SF Pro Display" pitchFamily="2" charset="0"/>
              <a:ea typeface="SF Pro Display" pitchFamily="2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4F12C9B-64AB-4A87-F631-9E16A4C25107}"/>
              </a:ext>
            </a:extLst>
          </p:cNvPr>
          <p:cNvSpPr txBox="1"/>
          <p:nvPr/>
        </p:nvSpPr>
        <p:spPr>
          <a:xfrm>
            <a:off x="4789059" y="6346368"/>
            <a:ext cx="28087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solidFill>
                  <a:srgbClr val="FFC000"/>
                </a:solidFill>
              </a:rPr>
              <a:t>Subscription Activation</a:t>
            </a:r>
          </a:p>
        </p:txBody>
      </p:sp>
      <p:pic>
        <p:nvPicPr>
          <p:cNvPr id="17" name="Imagen 2">
            <a:extLst>
              <a:ext uri="{FF2B5EF4-FFF2-40B4-BE49-F238E27FC236}">
                <a16:creationId xmlns:a16="http://schemas.microsoft.com/office/drawing/2014/main" id="{161D8BAC-FFE5-B4CE-812D-6465D44050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3221" y="1071471"/>
            <a:ext cx="2644852" cy="519177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6A4617D-BEAD-3F2F-7728-C3CC894D79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184" t="5481" r="8184" b="15441"/>
          <a:stretch/>
        </p:blipFill>
        <p:spPr>
          <a:xfrm>
            <a:off x="8969689" y="1793174"/>
            <a:ext cx="2211917" cy="3598224"/>
          </a:xfrm>
          <a:prstGeom prst="roundRect">
            <a:avLst>
              <a:gd name="adj" fmla="val 9034"/>
            </a:avLst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C9D76F7A-346C-D722-D8DB-ED62E9593290}"/>
              </a:ext>
            </a:extLst>
          </p:cNvPr>
          <p:cNvSpPr txBox="1"/>
          <p:nvPr/>
        </p:nvSpPr>
        <p:spPr>
          <a:xfrm>
            <a:off x="8969689" y="2170919"/>
            <a:ext cx="2211917" cy="1613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100"/>
              </a:spcBef>
            </a:pPr>
            <a:r>
              <a:rPr lang="en-US" sz="1400" dirty="0">
                <a:effectLst/>
                <a:latin typeface="SF Pro Display" pitchFamily="2" charset="0"/>
                <a:ea typeface="SF Pro Display" pitchFamily="2" charset="0"/>
              </a:rPr>
              <a:t>Y'ello, Thank you for  subscribing to BokSquad at  R3.00/day or lesser amount.  To cancel dial *155#. Call 135  for help. </a:t>
            </a:r>
            <a:r>
              <a:rPr lang="en-US" sz="1400" dirty="0" err="1">
                <a:effectLst/>
                <a:latin typeface="SF Pro Display" pitchFamily="2" charset="0"/>
                <a:ea typeface="SF Pro Display" pitchFamily="2" charset="0"/>
              </a:rPr>
              <a:t>Tz&amp;Cs</a:t>
            </a:r>
            <a:r>
              <a:rPr lang="en-US" sz="1400" dirty="0">
                <a:effectLst/>
                <a:latin typeface="SF Pro Display" pitchFamily="2" charset="0"/>
                <a:ea typeface="SF Pro Display" pitchFamily="2" charset="0"/>
              </a:rPr>
              <a:t>  </a:t>
            </a:r>
            <a:r>
              <a:rPr lang="en-US" sz="1400" dirty="0" err="1">
                <a:effectLst/>
                <a:latin typeface="SF Pro Display" pitchFamily="2" charset="0"/>
                <a:ea typeface="SF Pro Display" pitchFamily="2" charset="0"/>
              </a:rPr>
              <a:t>www.mtn.co.za</a:t>
            </a:r>
            <a:endParaRPr lang="en-US" sz="1400" dirty="0">
              <a:effectLst/>
              <a:latin typeface="SF Pro Display" pitchFamily="2" charset="0"/>
              <a:ea typeface="SF Pro Display" pitchFamily="2" charset="0"/>
            </a:endParaRPr>
          </a:p>
          <a:p>
            <a:pPr marR="5080">
              <a:lnSpc>
                <a:spcPct val="100000"/>
              </a:lnSpc>
              <a:spcBef>
                <a:spcPts val="100"/>
              </a:spcBef>
            </a:pPr>
            <a:endParaRPr lang="en-US" sz="1400" dirty="0">
              <a:effectLst/>
              <a:latin typeface="SF Pro Display" pitchFamily="2" charset="0"/>
              <a:ea typeface="SF Pro Display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0C0894-5FA0-D6DF-4FC4-6122EC9BC078}"/>
              </a:ext>
            </a:extLst>
          </p:cNvPr>
          <p:cNvSpPr txBox="1"/>
          <p:nvPr/>
        </p:nvSpPr>
        <p:spPr>
          <a:xfrm>
            <a:off x="8434015" y="6346368"/>
            <a:ext cx="32832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solidFill>
                  <a:srgbClr val="FFC000"/>
                </a:solidFill>
              </a:rPr>
              <a:t>SMS Confirmation Message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3CA9D4E-B3DB-E05C-0C96-7BCD4F53DA49}"/>
              </a:ext>
            </a:extLst>
          </p:cNvPr>
          <p:cNvCxnSpPr>
            <a:cxnSpLocks/>
          </p:cNvCxnSpPr>
          <p:nvPr/>
        </p:nvCxnSpPr>
        <p:spPr>
          <a:xfrm>
            <a:off x="3732156" y="3595251"/>
            <a:ext cx="1033153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CA497A61-7D02-D652-FD1C-99BFBB3AF95D}"/>
              </a:ext>
            </a:extLst>
          </p:cNvPr>
          <p:cNvCxnSpPr>
            <a:cxnSpLocks/>
          </p:cNvCxnSpPr>
          <p:nvPr/>
        </p:nvCxnSpPr>
        <p:spPr>
          <a:xfrm>
            <a:off x="7609716" y="3614050"/>
            <a:ext cx="1033153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70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76937-6659-B678-9D2C-82BFD0F1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’ello </a:t>
            </a:r>
            <a:r>
              <a:rPr lang="en-GB" dirty="0">
                <a:solidFill>
                  <a:schemeClr val="tx2"/>
                </a:solidFill>
              </a:rPr>
              <a:t>Trader Magazine Cove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2CBB66-0845-57F5-325F-6561C732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29</a:t>
            </a:fld>
            <a:endParaRPr lang="en-Z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9464D4D-6C18-AF14-15E4-65EAE6E02C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65315" y="1612747"/>
            <a:ext cx="3354278" cy="42845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176A11A-8DD7-9CF7-5FB9-21328B3559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05" y="1612748"/>
            <a:ext cx="3274658" cy="42845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7B2D4FD-4BFD-A8E0-C8F4-489D86D491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1111" y="1612748"/>
            <a:ext cx="3298364" cy="42845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258673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dirty="0"/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54E08FDA-540C-1852-257B-7617666BF937}"/>
              </a:ext>
            </a:extLst>
          </p:cNvPr>
          <p:cNvSpPr txBox="1">
            <a:spLocks/>
          </p:cNvSpPr>
          <p:nvPr/>
        </p:nvSpPr>
        <p:spPr>
          <a:xfrm>
            <a:off x="641604" y="595243"/>
            <a:ext cx="5705132" cy="1379352"/>
          </a:xfrm>
          <a:prstGeom prst="rect">
            <a:avLst/>
          </a:prstGeom>
        </p:spPr>
        <p:txBody>
          <a:bodyPr vert="horz" wrap="square" lIns="0" tIns="87630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Today, we’ll cover the following:</a:t>
            </a:r>
          </a:p>
        </p:txBody>
      </p:sp>
      <p:pic>
        <p:nvPicPr>
          <p:cNvPr id="9" name="object 7">
            <a:extLst>
              <a:ext uri="{FF2B5EF4-FFF2-40B4-BE49-F238E27FC236}">
                <a16:creationId xmlns:a16="http://schemas.microsoft.com/office/drawing/2014/main" id="{66331F1F-5C6C-5354-5765-9F31EDD5D01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811069" y="193504"/>
            <a:ext cx="5161608" cy="58963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6FEA770-9743-7D93-5FF4-A98030B3C785}"/>
              </a:ext>
            </a:extLst>
          </p:cNvPr>
          <p:cNvCxnSpPr>
            <a:cxnSpLocks/>
          </p:cNvCxnSpPr>
          <p:nvPr/>
        </p:nvCxnSpPr>
        <p:spPr>
          <a:xfrm>
            <a:off x="0" y="2536723"/>
            <a:ext cx="6346736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" name="object 6">
            <a:extLst>
              <a:ext uri="{FF2B5EF4-FFF2-40B4-BE49-F238E27FC236}">
                <a16:creationId xmlns:a16="http://schemas.microsoft.com/office/drawing/2014/main" id="{C2758D4A-F21F-BF4C-7687-4C2707DA4315}"/>
              </a:ext>
            </a:extLst>
          </p:cNvPr>
          <p:cNvSpPr txBox="1"/>
          <p:nvPr/>
        </p:nvSpPr>
        <p:spPr>
          <a:xfrm>
            <a:off x="664753" y="2735510"/>
            <a:ext cx="3822134" cy="3080330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355600" marR="0" indent="-34290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F7BC37"/>
              </a:buClr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r>
              <a:rPr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The </a:t>
            </a:r>
            <a:r>
              <a:rPr lang="en-US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Brief and </a:t>
            </a:r>
            <a:r>
              <a:rPr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Objectives</a:t>
            </a:r>
          </a:p>
          <a:p>
            <a:pPr marL="355600" marR="0" indent="-34290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F7BC37"/>
              </a:buClr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r>
              <a:rPr lang="en-US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The Product</a:t>
            </a:r>
            <a:endParaRPr kern="0" spc="-30" dirty="0">
              <a:solidFill>
                <a:sysClr val="windowText" lastClr="000000"/>
              </a:solidFill>
              <a:latin typeface="+mj-lt"/>
              <a:cs typeface="Calibri"/>
            </a:endParaRPr>
          </a:p>
          <a:p>
            <a:pPr marL="355600" marR="0" indent="-34290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F7BC37"/>
              </a:buClr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r>
              <a:rPr lang="en-US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The Audience</a:t>
            </a:r>
          </a:p>
          <a:p>
            <a:pPr marL="355600" marR="0" indent="-34290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F7BC37"/>
              </a:buClr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r>
              <a:rPr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Content</a:t>
            </a:r>
            <a:r>
              <a:rPr lang="en-US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 Evolution</a:t>
            </a:r>
            <a:endParaRPr kern="0" spc="-30" dirty="0">
              <a:solidFill>
                <a:sysClr val="windowText" lastClr="000000"/>
              </a:solidFill>
              <a:latin typeface="+mj-lt"/>
              <a:cs typeface="Calibri"/>
            </a:endParaRPr>
          </a:p>
          <a:p>
            <a:pPr marL="355600" marR="0" indent="-34290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F7BC37"/>
              </a:buClr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r>
              <a:rPr lang="en-ZA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Fan Experiences</a:t>
            </a:r>
          </a:p>
          <a:p>
            <a:pPr marL="355600" marR="0" indent="-34290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F7BC37"/>
              </a:buClr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r>
              <a:rPr lang="en-ZA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Activations and Campaigns</a:t>
            </a:r>
          </a:p>
          <a:p>
            <a:pPr marL="355600" marR="0" indent="-342900">
              <a:lnSpc>
                <a:spcPct val="100000"/>
              </a:lnSpc>
              <a:spcBef>
                <a:spcPts val="700"/>
              </a:spcBef>
              <a:spcAft>
                <a:spcPts val="700"/>
              </a:spcAft>
              <a:buClr>
                <a:srgbClr val="F7BC37"/>
              </a:buClr>
              <a:buFont typeface="+mj-lt"/>
              <a:buAutoNum type="arabicPeriod"/>
              <a:tabLst>
                <a:tab pos="240665" algn="l"/>
                <a:tab pos="241300" algn="l"/>
              </a:tabLst>
              <a:defRPr/>
            </a:pPr>
            <a:r>
              <a:rPr lang="en-ZA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The Numbers</a:t>
            </a:r>
            <a:endParaRPr kern="0" spc="-30" dirty="0">
              <a:solidFill>
                <a:sysClr val="windowText" lastClr="000000"/>
              </a:solidFill>
              <a:latin typeface="+mj-l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57991528"/>
      </p:ext>
    </p:extLst>
  </p:cSld>
  <p:clrMapOvr>
    <a:masterClrMapping/>
  </p:clrMapOvr>
  <p:transition spd="med"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76937-6659-B678-9D2C-82BFD0F1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’ello </a:t>
            </a:r>
            <a:r>
              <a:rPr lang="en-GB" dirty="0">
                <a:solidFill>
                  <a:schemeClr val="tx2"/>
                </a:solidFill>
              </a:rPr>
              <a:t>Trader Adver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2CBB66-0845-57F5-325F-6561C732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30</a:t>
            </a:fld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767E12-C5DF-1690-DABB-97197C5B88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2105" y="1240644"/>
            <a:ext cx="3837368" cy="503607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13FE5B3-A701-90A3-B11B-7EC893A26E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3805" y="1240644"/>
            <a:ext cx="3856090" cy="503607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5949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76937-6659-B678-9D2C-82BFD0F1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’ello </a:t>
            </a:r>
            <a:r>
              <a:rPr lang="en-GB" dirty="0">
                <a:solidFill>
                  <a:schemeClr val="tx2"/>
                </a:solidFill>
              </a:rPr>
              <a:t>Trader Adver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2CBB66-0845-57F5-325F-6561C732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31</a:t>
            </a:fld>
            <a:endParaRPr lang="en-Z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191138E-2598-3F0F-31E0-CFB849D921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495" y="1058657"/>
            <a:ext cx="8591009" cy="541913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76229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76937-6659-B678-9D2C-82BFD0F1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igital </a:t>
            </a:r>
            <a:r>
              <a:rPr lang="en-GB" dirty="0">
                <a:solidFill>
                  <a:schemeClr val="tx2"/>
                </a:solidFill>
              </a:rPr>
              <a:t>Acquisition Campaig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2CBB66-0845-57F5-325F-6561C732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32</a:t>
            </a:fld>
            <a:endParaRPr lang="en-ZA" dirty="0"/>
          </a:p>
        </p:txBody>
      </p:sp>
      <p:pic>
        <p:nvPicPr>
          <p:cNvPr id="4" name="Picture 3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4F1CFF8B-73F8-FE1A-B4BB-7B7BE5A5C1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0796" y="1239134"/>
            <a:ext cx="1323888" cy="4964578"/>
          </a:xfrm>
          <a:prstGeom prst="rect">
            <a:avLst/>
          </a:prstGeom>
          <a:ln>
            <a:solidFill>
              <a:srgbClr val="FFFFFF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97DD703B-AE9C-D062-152E-4CB9669427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158" y="1239134"/>
            <a:ext cx="2627839" cy="2189866"/>
          </a:xfrm>
          <a:prstGeom prst="rect">
            <a:avLst/>
          </a:prstGeom>
          <a:ln>
            <a:solidFill>
              <a:srgbClr val="FFFFFF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 descr="A screenshot of a football game&#10;&#10;Description automatically generated with medium confidence">
            <a:extLst>
              <a:ext uri="{FF2B5EF4-FFF2-40B4-BE49-F238E27FC236}">
                <a16:creationId xmlns:a16="http://schemas.microsoft.com/office/drawing/2014/main" id="{B3E1038A-2C78-BA79-FCA4-379606D089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9158" y="4013846"/>
            <a:ext cx="2627839" cy="2189866"/>
          </a:xfrm>
          <a:prstGeom prst="rect">
            <a:avLst/>
          </a:prstGeom>
          <a:ln>
            <a:solidFill>
              <a:srgbClr val="FFFFFF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C682AE7-8C0D-F189-F7FA-0715D6BEDC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23664" y="4073632"/>
            <a:ext cx="3253213" cy="2130080"/>
          </a:xfrm>
          <a:prstGeom prst="rect">
            <a:avLst/>
          </a:prstGeom>
          <a:ln>
            <a:solidFill>
              <a:srgbClr val="FFFFFF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2C7B827-7615-87E1-8FC0-A9D5BCEF1F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23664" y="1230640"/>
            <a:ext cx="3227743" cy="2130080"/>
          </a:xfrm>
          <a:prstGeom prst="rect">
            <a:avLst/>
          </a:prstGeom>
          <a:ln>
            <a:solidFill>
              <a:srgbClr val="FFFFFF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A569095-9DF7-A520-4B3C-9D9334E7D7D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58483" y="1230640"/>
            <a:ext cx="3251381" cy="2130081"/>
          </a:xfrm>
          <a:prstGeom prst="rect">
            <a:avLst/>
          </a:prstGeom>
          <a:ln>
            <a:solidFill>
              <a:srgbClr val="FFFFFF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A1FEFCA-135C-E301-900B-27EEF68AF2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58483" y="4065103"/>
            <a:ext cx="3251381" cy="2138609"/>
          </a:xfrm>
          <a:prstGeom prst="rect">
            <a:avLst/>
          </a:prstGeom>
          <a:ln>
            <a:solidFill>
              <a:srgbClr val="FFFFFF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8542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76937-6659-B678-9D2C-82BFD0F1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cial </a:t>
            </a:r>
            <a:r>
              <a:rPr lang="en-GB" dirty="0">
                <a:solidFill>
                  <a:schemeClr val="tx2"/>
                </a:solidFill>
              </a:rPr>
              <a:t>Medi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2CBB66-0845-57F5-325F-6561C732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33</a:t>
            </a:fld>
            <a:endParaRPr lang="en-ZA" dirty="0"/>
          </a:p>
        </p:txBody>
      </p:sp>
      <p:pic>
        <p:nvPicPr>
          <p:cNvPr id="6" name="Google Shape;694;g14d4d8df5ca_1_36">
            <a:extLst>
              <a:ext uri="{FF2B5EF4-FFF2-40B4-BE49-F238E27FC236}">
                <a16:creationId xmlns:a16="http://schemas.microsoft.com/office/drawing/2014/main" id="{4DE3B9F9-099B-5AE5-6375-DFB3E550A558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980" t="3830" r="52957" b="8245"/>
          <a:stretch/>
        </p:blipFill>
        <p:spPr>
          <a:xfrm>
            <a:off x="960807" y="2140126"/>
            <a:ext cx="2361362" cy="294919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Google Shape;694;g14d4d8df5ca_1_36">
            <a:extLst>
              <a:ext uri="{FF2B5EF4-FFF2-40B4-BE49-F238E27FC236}">
                <a16:creationId xmlns:a16="http://schemas.microsoft.com/office/drawing/2014/main" id="{5FFB55F4-3324-FEEB-7D62-200F9398FD27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2">
            <a:alphaModFix/>
          </a:blip>
          <a:srcRect l="51807" t="4253" r="1095" b="8449"/>
          <a:stretch/>
        </p:blipFill>
        <p:spPr>
          <a:xfrm>
            <a:off x="4831443" y="2134368"/>
            <a:ext cx="2436538" cy="2954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Google Shape;689;g14d4d8df5ca_1_36">
            <a:extLst>
              <a:ext uri="{FF2B5EF4-FFF2-40B4-BE49-F238E27FC236}">
                <a16:creationId xmlns:a16="http://schemas.microsoft.com/office/drawing/2014/main" id="{14BC2D64-A00D-9FA7-DA77-BC9B820448B4}"/>
              </a:ext>
            </a:extLst>
          </p:cNvPr>
          <p:cNvSpPr txBox="1">
            <a:spLocks/>
          </p:cNvSpPr>
          <p:nvPr/>
        </p:nvSpPr>
        <p:spPr>
          <a:xfrm>
            <a:off x="1313138" y="5315598"/>
            <a:ext cx="1656700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152400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2263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3713" indent="-1619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4050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5975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r>
              <a:rPr lang="en-US" sz="1600" u="sng" dirty="0">
                <a:latin typeface="MTN Brighter Sans" panose="00000500000000000000" pitchFamily="50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to VIEW</a:t>
            </a:r>
            <a:endParaRPr lang="en-US" dirty="0">
              <a:latin typeface="MTN Brighter Sans" panose="00000500000000000000" pitchFamily="50" charset="0"/>
            </a:endParaRPr>
          </a:p>
        </p:txBody>
      </p:sp>
      <p:sp>
        <p:nvSpPr>
          <p:cNvPr id="12" name="Google Shape;691;g14d4d8df5ca_1_36">
            <a:extLst>
              <a:ext uri="{FF2B5EF4-FFF2-40B4-BE49-F238E27FC236}">
                <a16:creationId xmlns:a16="http://schemas.microsoft.com/office/drawing/2014/main" id="{55CC3BA0-78E1-1E57-71A6-54238EFA21B9}"/>
              </a:ext>
            </a:extLst>
          </p:cNvPr>
          <p:cNvSpPr txBox="1">
            <a:spLocks/>
          </p:cNvSpPr>
          <p:nvPr/>
        </p:nvSpPr>
        <p:spPr>
          <a:xfrm>
            <a:off x="5361424" y="5309840"/>
            <a:ext cx="137657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152400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2263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3713" indent="-1619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4050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5975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r>
              <a:rPr lang="en-US" sz="1600" u="sng" dirty="0">
                <a:latin typeface="MTN Brighter Sans" panose="00000500000000000000" pitchFamily="50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to VIEW</a:t>
            </a:r>
            <a:endParaRPr lang="en-US" dirty="0">
              <a:latin typeface="MTN Brighter Sans" panose="00000500000000000000" pitchFamily="50" charset="0"/>
            </a:endParaRPr>
          </a:p>
        </p:txBody>
      </p:sp>
      <p:pic>
        <p:nvPicPr>
          <p:cNvPr id="15" name="Google Shape;663;g14d4860c23c_0_17">
            <a:extLst>
              <a:ext uri="{FF2B5EF4-FFF2-40B4-BE49-F238E27FC236}">
                <a16:creationId xmlns:a16="http://schemas.microsoft.com/office/drawing/2014/main" id="{FFFAD501-B65B-5CBA-D60F-14BF56D336C0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5">
            <a:alphaModFix/>
          </a:blip>
          <a:srcRect l="51095" t="2537" r="26472" b="37464"/>
          <a:stretch/>
        </p:blipFill>
        <p:spPr>
          <a:xfrm>
            <a:off x="8674570" y="2134139"/>
            <a:ext cx="2361363" cy="29551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6" name="Google Shape;667;g14d4860c23c_0_17">
            <a:extLst>
              <a:ext uri="{FF2B5EF4-FFF2-40B4-BE49-F238E27FC236}">
                <a16:creationId xmlns:a16="http://schemas.microsoft.com/office/drawing/2014/main" id="{25772753-A51F-F071-9BB5-CB0B5EF0E43C}"/>
              </a:ext>
            </a:extLst>
          </p:cNvPr>
          <p:cNvSpPr txBox="1">
            <a:spLocks/>
          </p:cNvSpPr>
          <p:nvPr/>
        </p:nvSpPr>
        <p:spPr>
          <a:xfrm>
            <a:off x="9103804" y="5309610"/>
            <a:ext cx="1427979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152400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2263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93713" indent="-1619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54050" indent="-16033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5975" indent="-152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r>
              <a:rPr lang="en-US" sz="1600" u="sng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ck to 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09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76937-6659-B678-9D2C-82BFD0F1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’ello </a:t>
            </a:r>
            <a:r>
              <a:rPr lang="en-GB" dirty="0">
                <a:solidFill>
                  <a:schemeClr val="tx2"/>
                </a:solidFill>
              </a:rPr>
              <a:t>TV Adve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2CBB66-0845-57F5-325F-6561C732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34</a:t>
            </a:fld>
            <a:endParaRPr lang="en-ZA" dirty="0"/>
          </a:p>
        </p:txBody>
      </p:sp>
      <p:pic>
        <p:nvPicPr>
          <p:cNvPr id="4" name="BokSquad_Land1080.mp4">
            <a:hlinkClick r:id="" action="ppaction://media"/>
            <a:extLst>
              <a:ext uri="{FF2B5EF4-FFF2-40B4-BE49-F238E27FC236}">
                <a16:creationId xmlns:a16="http://schemas.microsoft.com/office/drawing/2014/main" id="{50E5DD6F-F809-10E8-A872-76BBEBFF4D8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648039" y="1138337"/>
            <a:ext cx="8895921" cy="500395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B26EFE4-68BE-501C-20A4-267D67983C93}"/>
              </a:ext>
            </a:extLst>
          </p:cNvPr>
          <p:cNvSpPr txBox="1"/>
          <p:nvPr/>
        </p:nvSpPr>
        <p:spPr>
          <a:xfrm>
            <a:off x="2586680" y="6263243"/>
            <a:ext cx="7018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chemeClr val="tx2"/>
                </a:solidFill>
              </a:rPr>
              <a:t>Click to Pla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0878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C6C4DE-65CD-A240-BDB2-7382EEB8B4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7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E296D-8B4A-AE4F-803D-9698D15DA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395" y="2673984"/>
            <a:ext cx="3657237" cy="1403654"/>
          </a:xfrm>
        </p:spPr>
        <p:txBody>
          <a:bodyPr/>
          <a:lstStyle/>
          <a:p>
            <a:r>
              <a:rPr lang="en-GB" dirty="0"/>
              <a:t>The Number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5B947-971C-3D4C-BE8A-E16874024E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42BD6CE-6F30-DEF3-F1E2-97CE1C903D37}"/>
              </a:ext>
            </a:extLst>
          </p:cNvPr>
          <p:cNvGrpSpPr>
            <a:grpSpLocks noChangeAspect="1"/>
          </p:cNvGrpSpPr>
          <p:nvPr/>
        </p:nvGrpSpPr>
        <p:grpSpPr>
          <a:xfrm>
            <a:off x="8966531" y="5484233"/>
            <a:ext cx="2916000" cy="1033034"/>
            <a:chOff x="1543336" y="4626248"/>
            <a:chExt cx="5335255" cy="1890117"/>
          </a:xfrm>
        </p:grpSpPr>
        <p:pic>
          <p:nvPicPr>
            <p:cNvPr id="5" name="Picture 4" descr="Logo&#10;&#10;Description automatically generated">
              <a:extLst>
                <a:ext uri="{FF2B5EF4-FFF2-40B4-BE49-F238E27FC236}">
                  <a16:creationId xmlns:a16="http://schemas.microsoft.com/office/drawing/2014/main" id="{E8531D4F-67F2-10FB-FDE2-021496CD8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43336" y="4626248"/>
              <a:ext cx="2237828" cy="1890117"/>
            </a:xfrm>
            <a:prstGeom prst="rect">
              <a:avLst/>
            </a:prstGeom>
          </p:spPr>
        </p:pic>
        <p:pic>
          <p:nvPicPr>
            <p:cNvPr id="6" name="Picture 5" descr="Logo&#10;&#10;Description automatically generated">
              <a:extLst>
                <a:ext uri="{FF2B5EF4-FFF2-40B4-BE49-F238E27FC236}">
                  <a16:creationId xmlns:a16="http://schemas.microsoft.com/office/drawing/2014/main" id="{BA6EECD9-9B53-D64A-F3C2-65BF78F844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20571" y="4851263"/>
              <a:ext cx="2758020" cy="1381763"/>
            </a:xfrm>
            <a:prstGeom prst="rect">
              <a:avLst/>
            </a:prstGeom>
          </p:spPr>
        </p:pic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9CB67C0C-170C-AA0C-93CE-164CCBF85C15}"/>
                </a:ext>
              </a:extLst>
            </p:cNvPr>
            <p:cNvCxnSpPr/>
            <p:nvPr/>
          </p:nvCxnSpPr>
          <p:spPr>
            <a:xfrm>
              <a:off x="3781164" y="4909589"/>
              <a:ext cx="0" cy="1323437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692548265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676937-6659-B678-9D2C-82BFD0F1B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Resul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2CBB66-0845-57F5-325F-6561C73236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9EDA83-5074-4C24-8467-F331177C9D01}" type="slidenum">
              <a:rPr lang="en-ZA" smtClean="0"/>
              <a:pPr/>
              <a:t>36</a:t>
            </a:fld>
            <a:endParaRPr lang="en-ZA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960DB69-9428-5C3D-AA29-70E78B188774}"/>
              </a:ext>
            </a:extLst>
          </p:cNvPr>
          <p:cNvGrpSpPr/>
          <p:nvPr/>
        </p:nvGrpSpPr>
        <p:grpSpPr>
          <a:xfrm>
            <a:off x="563661" y="1147536"/>
            <a:ext cx="5562699" cy="923330"/>
            <a:chOff x="563661" y="1147536"/>
            <a:chExt cx="5562699" cy="923330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B874BC7-6D8A-DA89-477D-852C24AD21C8}"/>
                </a:ext>
              </a:extLst>
            </p:cNvPr>
            <p:cNvSpPr txBox="1"/>
            <p:nvPr/>
          </p:nvSpPr>
          <p:spPr>
            <a:xfrm>
              <a:off x="563661" y="1147536"/>
              <a:ext cx="2781531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5400" b="1" dirty="0">
                  <a:solidFill>
                    <a:srgbClr val="FFCB05"/>
                  </a:solidFill>
                  <a:latin typeface="MTN Brighter Sans ExtraBold" pitchFamily="2" charset="77"/>
                </a:rPr>
                <a:t>July ‘22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B928495-6DE5-1413-7AC7-D6551F9B9C22}"/>
                </a:ext>
              </a:extLst>
            </p:cNvPr>
            <p:cNvSpPr txBox="1"/>
            <p:nvPr/>
          </p:nvSpPr>
          <p:spPr>
            <a:xfrm>
              <a:off x="3563300" y="1286036"/>
              <a:ext cx="25630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BokSqaud</a:t>
              </a:r>
            </a:p>
            <a:p>
              <a:r>
                <a:rPr lang="en-GB" dirty="0"/>
                <a:t>Launched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27B6090-8D28-6FE0-AACE-EB44A573175D}"/>
              </a:ext>
            </a:extLst>
          </p:cNvPr>
          <p:cNvGrpSpPr/>
          <p:nvPr/>
        </p:nvGrpSpPr>
        <p:grpSpPr>
          <a:xfrm>
            <a:off x="2761838" y="5604797"/>
            <a:ext cx="3366996" cy="923330"/>
            <a:chOff x="2759364" y="2239396"/>
            <a:chExt cx="3366996" cy="92333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E906B58-031A-E43D-9717-B48450DC9BD9}"/>
                </a:ext>
              </a:extLst>
            </p:cNvPr>
            <p:cNvSpPr txBox="1"/>
            <p:nvPr/>
          </p:nvSpPr>
          <p:spPr>
            <a:xfrm>
              <a:off x="2759364" y="2239396"/>
              <a:ext cx="607859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5400" b="1" dirty="0">
                  <a:solidFill>
                    <a:srgbClr val="FFCB05"/>
                  </a:solidFill>
                  <a:latin typeface="MTN Brighter Sans ExtraBold" pitchFamily="2" charset="77"/>
                </a:rPr>
                <a:t>9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3CE8339-D234-F4A3-60BD-69A9AC3566C9}"/>
                </a:ext>
              </a:extLst>
            </p:cNvPr>
            <p:cNvSpPr txBox="1"/>
            <p:nvPr/>
          </p:nvSpPr>
          <p:spPr>
            <a:xfrm>
              <a:off x="3563300" y="2377896"/>
              <a:ext cx="256306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Digital Customer Acquisition Channels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3E52BCD-2B1B-78F5-8116-87B8F15613DA}"/>
              </a:ext>
            </a:extLst>
          </p:cNvPr>
          <p:cNvGrpSpPr/>
          <p:nvPr/>
        </p:nvGrpSpPr>
        <p:grpSpPr>
          <a:xfrm>
            <a:off x="1739854" y="2280387"/>
            <a:ext cx="3587518" cy="923330"/>
            <a:chOff x="1739854" y="3248716"/>
            <a:chExt cx="3587518" cy="923330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5215F7A-2183-5E7C-1BE3-BBDB4AB1A7FE}"/>
                </a:ext>
              </a:extLst>
            </p:cNvPr>
            <p:cNvSpPr txBox="1"/>
            <p:nvPr/>
          </p:nvSpPr>
          <p:spPr>
            <a:xfrm>
              <a:off x="1739854" y="3248716"/>
              <a:ext cx="1627369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5400" b="1" dirty="0">
                  <a:solidFill>
                    <a:srgbClr val="FFCB05"/>
                  </a:solidFill>
                  <a:latin typeface="MTN Brighter Sans ExtraBold" pitchFamily="2" charset="77"/>
                </a:rPr>
                <a:t>1,3m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24BC0B6-B72A-5FAE-2C7B-A05817098727}"/>
                </a:ext>
              </a:extLst>
            </p:cNvPr>
            <p:cNvSpPr txBox="1"/>
            <p:nvPr/>
          </p:nvSpPr>
          <p:spPr>
            <a:xfrm>
              <a:off x="3563300" y="3387216"/>
              <a:ext cx="176407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Monthly Active User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C88E7FA5-8FFF-732F-70D2-CA089D8B5A26}"/>
              </a:ext>
            </a:extLst>
          </p:cNvPr>
          <p:cNvGrpSpPr/>
          <p:nvPr/>
        </p:nvGrpSpPr>
        <p:grpSpPr>
          <a:xfrm>
            <a:off x="1528258" y="3413238"/>
            <a:ext cx="4236436" cy="923330"/>
            <a:chOff x="1528258" y="4348278"/>
            <a:chExt cx="4236436" cy="92333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379394E-F114-1189-EC29-CEAA8B709A5F}"/>
                </a:ext>
              </a:extLst>
            </p:cNvPr>
            <p:cNvSpPr txBox="1"/>
            <p:nvPr/>
          </p:nvSpPr>
          <p:spPr>
            <a:xfrm>
              <a:off x="1528258" y="4348278"/>
              <a:ext cx="1838965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5400" b="1" dirty="0">
                  <a:solidFill>
                    <a:srgbClr val="FFCB05"/>
                  </a:solidFill>
                  <a:latin typeface="MTN Brighter Sans ExtraBold" pitchFamily="2" charset="77"/>
                </a:rPr>
                <a:t>R25m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25CC187-7E7B-A451-9E64-548946215E21}"/>
                </a:ext>
              </a:extLst>
            </p:cNvPr>
            <p:cNvSpPr txBox="1"/>
            <p:nvPr/>
          </p:nvSpPr>
          <p:spPr>
            <a:xfrm>
              <a:off x="3563300" y="4486778"/>
              <a:ext cx="22013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Gross Revenue Generated</a:t>
              </a:r>
            </a:p>
          </p:txBody>
        </p:sp>
      </p:grpSp>
      <p:pic>
        <p:nvPicPr>
          <p:cNvPr id="38" name="Picture 37" descr="Logo&#10;&#10;Description automatically generated">
            <a:extLst>
              <a:ext uri="{FF2B5EF4-FFF2-40B4-BE49-F238E27FC236}">
                <a16:creationId xmlns:a16="http://schemas.microsoft.com/office/drawing/2014/main" id="{0E2EB173-D54D-D7B4-F0AB-E706D1F728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22437" y="1678859"/>
            <a:ext cx="4812142" cy="4064438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379A26F-B41A-1142-8D11-F61D5A014F60}"/>
              </a:ext>
            </a:extLst>
          </p:cNvPr>
          <p:cNvGrpSpPr/>
          <p:nvPr/>
        </p:nvGrpSpPr>
        <p:grpSpPr>
          <a:xfrm>
            <a:off x="1015296" y="4546089"/>
            <a:ext cx="4749398" cy="923330"/>
            <a:chOff x="1015296" y="5388119"/>
            <a:chExt cx="4749398" cy="923330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0ACE30D7-CD86-8A22-7199-923EACF4709F}"/>
                </a:ext>
              </a:extLst>
            </p:cNvPr>
            <p:cNvSpPr txBox="1"/>
            <p:nvPr/>
          </p:nvSpPr>
          <p:spPr>
            <a:xfrm>
              <a:off x="1015296" y="5388119"/>
              <a:ext cx="2351927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GB" sz="5400" b="1" dirty="0">
                  <a:solidFill>
                    <a:srgbClr val="FFCB05"/>
                  </a:solidFill>
                  <a:latin typeface="MTN Brighter Sans ExtraBold" pitchFamily="2" charset="77"/>
                </a:rPr>
                <a:t>R1,2m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C127E81A-67C9-FB03-36F3-3304349A5429}"/>
                </a:ext>
              </a:extLst>
            </p:cNvPr>
            <p:cNvSpPr txBox="1"/>
            <p:nvPr/>
          </p:nvSpPr>
          <p:spPr>
            <a:xfrm>
              <a:off x="3563300" y="5526619"/>
              <a:ext cx="22013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Paid Media Budg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008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tanding in front of a group of people in uniform&#10;&#10;Description automatically generated with low confidence">
            <a:extLst>
              <a:ext uri="{FF2B5EF4-FFF2-40B4-BE49-F238E27FC236}">
                <a16:creationId xmlns:a16="http://schemas.microsoft.com/office/drawing/2014/main" id="{1E936FB6-9F37-CE62-D995-ED9CE71A7F7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03" name="TextBox 1"/>
          <p:cNvSpPr txBox="1">
            <a:spLocks noGrp="1"/>
          </p:cNvSpPr>
          <p:nvPr>
            <p:ph type="body" idx="21"/>
          </p:nvPr>
        </p:nvSpPr>
        <p:spPr>
          <a:xfrm>
            <a:off x="1021079" y="5411452"/>
            <a:ext cx="10149841" cy="1446548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8800" b="1" dirty="0">
                <a:solidFill>
                  <a:srgbClr val="FFFFFF"/>
                </a:solidFill>
                <a:latin typeface="MTN Brighter Sans ExtraBold" pitchFamily="2" charset="77"/>
              </a:rPr>
              <a:t>Thank You</a:t>
            </a:r>
            <a:endParaRPr sz="8800" b="1" dirty="0">
              <a:solidFill>
                <a:srgbClr val="FFFFFF"/>
              </a:solidFill>
              <a:latin typeface="MTN Brighter Sans ExtraBold" pitchFamily="2" charset="77"/>
            </a:endParaRP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58AE51A4-A89E-E2B3-3789-9405588C3C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022" y="133899"/>
            <a:ext cx="1980117" cy="1672449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E948C347-36F1-F97D-78BF-DCD27B25BC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4153" y="304412"/>
            <a:ext cx="1760160" cy="881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0707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C6C4DE-65CD-A240-BDB2-7382EEB8B4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E296D-8B4A-AE4F-803D-9698D15DA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395" y="2673984"/>
            <a:ext cx="4304473" cy="1403654"/>
          </a:xfrm>
        </p:spPr>
        <p:txBody>
          <a:bodyPr/>
          <a:lstStyle/>
          <a:p>
            <a:r>
              <a:rPr lang="en-GB" dirty="0"/>
              <a:t>The Brief and Objectiv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5B947-971C-3D4C-BE8A-E16874024E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730D958-9375-92AC-F56B-033441298617}"/>
              </a:ext>
            </a:extLst>
          </p:cNvPr>
          <p:cNvGrpSpPr>
            <a:grpSpLocks noChangeAspect="1"/>
          </p:cNvGrpSpPr>
          <p:nvPr/>
        </p:nvGrpSpPr>
        <p:grpSpPr>
          <a:xfrm>
            <a:off x="8966531" y="5484233"/>
            <a:ext cx="2916000" cy="1033034"/>
            <a:chOff x="1543336" y="4626248"/>
            <a:chExt cx="5335255" cy="1890117"/>
          </a:xfrm>
        </p:grpSpPr>
        <p:pic>
          <p:nvPicPr>
            <p:cNvPr id="18" name="Picture 17" descr="Logo&#10;&#10;Description automatically generated">
              <a:extLst>
                <a:ext uri="{FF2B5EF4-FFF2-40B4-BE49-F238E27FC236}">
                  <a16:creationId xmlns:a16="http://schemas.microsoft.com/office/drawing/2014/main" id="{889E8505-AE39-2318-6C72-A4E08E3015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43336" y="4626248"/>
              <a:ext cx="2237828" cy="1890117"/>
            </a:xfrm>
            <a:prstGeom prst="rect">
              <a:avLst/>
            </a:prstGeom>
          </p:spPr>
        </p:pic>
        <p:pic>
          <p:nvPicPr>
            <p:cNvPr id="19" name="Picture 18" descr="Logo&#10;&#10;Description automatically generated">
              <a:extLst>
                <a:ext uri="{FF2B5EF4-FFF2-40B4-BE49-F238E27FC236}">
                  <a16:creationId xmlns:a16="http://schemas.microsoft.com/office/drawing/2014/main" id="{DC685780-5A73-1789-63BA-D26F502417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20571" y="4851263"/>
              <a:ext cx="2758020" cy="1381763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7E9D2C2-603A-AEC0-ABA6-0F7B0EE212F3}"/>
                </a:ext>
              </a:extLst>
            </p:cNvPr>
            <p:cNvCxnSpPr/>
            <p:nvPr/>
          </p:nvCxnSpPr>
          <p:spPr>
            <a:xfrm>
              <a:off x="3781164" y="4909589"/>
              <a:ext cx="0" cy="1323437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1489110481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sz="2400" dirty="0">
              <a:latin typeface="+mj-lt"/>
            </a:endParaRP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904756-E3B6-41CC-1417-73C540FA34EF}"/>
              </a:ext>
            </a:extLst>
          </p:cNvPr>
          <p:cNvSpPr txBox="1"/>
          <p:nvPr/>
        </p:nvSpPr>
        <p:spPr>
          <a:xfrm>
            <a:off x="685798" y="1797714"/>
            <a:ext cx="6192080" cy="4112472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/>
          <a:p>
            <a:pPr marL="12700" marR="88900" lvl="0" defTabSz="914400" eaLnBrk="1" fontAlgn="auto" latinLnBrk="0" hangingPunct="1">
              <a:lnSpc>
                <a:spcPts val="2400"/>
              </a:lnSpc>
              <a:spcBef>
                <a:spcPts val="375"/>
              </a:spcBef>
              <a:spcAft>
                <a:spcPts val="0"/>
              </a:spcAft>
              <a:buClr>
                <a:srgbClr val="F7BC37"/>
              </a:buClr>
              <a:buSzTx/>
              <a:tabLst>
                <a:tab pos="240665" algn="l"/>
                <a:tab pos="241300" algn="l"/>
              </a:tabLst>
              <a:defRPr/>
            </a:pPr>
            <a:r>
              <a:rPr kumimoji="0" lang="en-US" b="1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MTN South Africa briefed Ole Connect to create </a:t>
            </a:r>
            <a:r>
              <a:rPr kumimoji="0" lang="en-US" b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an</a:t>
            </a:r>
            <a:r>
              <a:rPr kumimoji="0" lang="en-US" b="1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 </a:t>
            </a:r>
            <a:r>
              <a:rPr kumimoji="0" lang="en-US" b="1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exciting</a:t>
            </a:r>
            <a:r>
              <a:rPr kumimoji="0" lang="en-US" b="1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 </a:t>
            </a:r>
            <a:r>
              <a:rPr kumimoji="0" lang="en-US" b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and</a:t>
            </a:r>
            <a:r>
              <a:rPr kumimoji="0" lang="en-US" b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 engaging digital</a:t>
            </a:r>
            <a:r>
              <a:rPr kumimoji="0" lang="en-US" b="1" u="none" strike="noStrike" kern="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 </a:t>
            </a:r>
            <a:r>
              <a:rPr kumimoji="0" lang="en-US" b="1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experience</a:t>
            </a:r>
            <a:r>
              <a:rPr kumimoji="0" lang="en-US" b="1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 </a:t>
            </a:r>
            <a:r>
              <a:rPr kumimoji="0" lang="en-US" b="1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for </a:t>
            </a:r>
            <a:r>
              <a:rPr kumimoji="0" lang="en-US" b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Bok</a:t>
            </a:r>
            <a:r>
              <a:rPr kumimoji="0" lang="en-US" b="1" u="none" strike="noStrike" kern="0" cap="none" spc="-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 </a:t>
            </a:r>
            <a:r>
              <a:rPr kumimoji="0" lang="en-US" b="1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supporters</a:t>
            </a:r>
            <a:r>
              <a:rPr kumimoji="0" lang="en-US" b="1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TN Brighter Sans Bold" pitchFamily="2" charset="77"/>
                <a:cs typeface="Calibri"/>
              </a:rPr>
              <a:t> with the goal of creating a home for </a:t>
            </a:r>
            <a:r>
              <a:rPr lang="en-US" b="1" kern="0" spc="-70" dirty="0">
                <a:solidFill>
                  <a:sysClr val="windowText" lastClr="000000"/>
                </a:solidFill>
                <a:latin typeface="MTN Brighter Sans Bold" pitchFamily="2" charset="77"/>
                <a:cs typeface="Calibri"/>
              </a:rPr>
              <a:t>Springbok fans. This included:</a:t>
            </a:r>
            <a:br>
              <a:rPr lang="en-US" kern="0" spc="-70" dirty="0">
                <a:solidFill>
                  <a:sysClr val="windowText" lastClr="000000"/>
                </a:solidFill>
                <a:latin typeface="+mj-lt"/>
                <a:cs typeface="Calibri"/>
              </a:rPr>
            </a:br>
            <a:endParaRPr lang="en-US" kern="0" spc="-70" dirty="0">
              <a:solidFill>
                <a:sysClr val="windowText" lastClr="000000"/>
              </a:solidFill>
              <a:latin typeface="+mj-lt"/>
              <a:cs typeface="Calibri"/>
            </a:endParaRPr>
          </a:p>
          <a:p>
            <a:pPr marL="755650" marR="88900" lvl="1" indent="-285750">
              <a:lnSpc>
                <a:spcPts val="2400"/>
              </a:lnSpc>
              <a:spcBef>
                <a:spcPts val="375"/>
              </a:spcBef>
              <a:buClr>
                <a:srgbClr val="F7BC37"/>
              </a:buClr>
              <a:buFont typeface="Arial" panose="020B0604020202020204" pitchFamily="34" charset="0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Creating </a:t>
            </a:r>
            <a:r>
              <a:rPr kumimoji="0" lang="en-US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 distinctive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digital</a:t>
            </a:r>
            <a:r>
              <a:rPr kumimoji="0" lang="en-US" b="0" i="0" u="none" strike="noStrike" kern="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experience</a:t>
            </a:r>
            <a:r>
              <a:rPr kumimoji="0" lang="en-US" b="0" i="0" u="none" strike="noStrike" kern="0" cap="none" spc="-7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within</a:t>
            </a:r>
            <a:r>
              <a:rPr kumimoji="0" lang="en-US" b="0" i="0" u="none" strike="noStrike" kern="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digital</a:t>
            </a:r>
            <a:r>
              <a:rPr kumimoji="0" lang="en-US" b="0" i="0" u="none" strike="noStrike" kern="0" cap="none" spc="-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sport</a:t>
            </a:r>
            <a:r>
              <a:rPr kumimoji="0" lang="en-US" b="0" i="0" u="none" strike="noStrike" kern="0" cap="none" spc="-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ublishing.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697865" marR="5080" lvl="1" indent="-228600" defTabSz="914400" eaLnBrk="1" fontAlgn="auto" latinLnBrk="0" hangingPunct="1">
              <a:lnSpc>
                <a:spcPts val="2500"/>
              </a:lnSpc>
              <a:spcBef>
                <a:spcPts val="5"/>
              </a:spcBef>
              <a:spcAft>
                <a:spcPts val="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697865" algn="l"/>
                <a:tab pos="698500" algn="l"/>
              </a:tabLst>
              <a:defRPr/>
            </a:pP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Leveraging MTN’s Springbok sponsorship property through creating exclusive content. </a:t>
            </a:r>
          </a:p>
          <a:p>
            <a:pPr marL="697865" marR="5080" lvl="1" indent="-228600" defTabSz="914400" eaLnBrk="1" fontAlgn="auto" latinLnBrk="0" hangingPunct="1">
              <a:lnSpc>
                <a:spcPts val="2500"/>
              </a:lnSpc>
              <a:spcBef>
                <a:spcPts val="5"/>
              </a:spcBef>
              <a:spcAft>
                <a:spcPts val="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697865" algn="l"/>
                <a:tab pos="698500" algn="l"/>
              </a:tabLst>
              <a:defRPr/>
            </a:pPr>
            <a:endParaRPr lang="en-US" kern="0" spc="-30" dirty="0">
              <a:solidFill>
                <a:sysClr val="windowText" lastClr="000000"/>
              </a:solidFill>
              <a:latin typeface="+mj-lt"/>
              <a:cs typeface="Calibri"/>
            </a:endParaRPr>
          </a:p>
          <a:p>
            <a:pPr marL="697865" marR="5080" lvl="1" indent="-228600" defTabSz="914400" eaLnBrk="1" fontAlgn="auto" latinLnBrk="0" hangingPunct="1">
              <a:lnSpc>
                <a:spcPts val="2500"/>
              </a:lnSpc>
              <a:spcBef>
                <a:spcPts val="5"/>
              </a:spcBef>
              <a:spcAft>
                <a:spcPts val="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697865" algn="l"/>
                <a:tab pos="698500" algn="l"/>
              </a:tabLst>
              <a:defRPr/>
            </a:pP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Building a platform to house the exclusive content and create opportunities for monetization. </a:t>
            </a:r>
          </a:p>
        </p:txBody>
      </p:sp>
      <p:pic>
        <p:nvPicPr>
          <p:cNvPr id="11" name="object 6">
            <a:extLst>
              <a:ext uri="{FF2B5EF4-FFF2-40B4-BE49-F238E27FC236}">
                <a16:creationId xmlns:a16="http://schemas.microsoft.com/office/drawing/2014/main" id="{EE027A66-16C2-3303-C758-9CA62DC7DD83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732107" y="1912265"/>
            <a:ext cx="5116063" cy="2612906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494503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object 2">
            <a:extLst>
              <a:ext uri="{FF2B5EF4-FFF2-40B4-BE49-F238E27FC236}">
                <a16:creationId xmlns:a16="http://schemas.microsoft.com/office/drawing/2014/main" id="{EF9AD636-7B6D-441A-162F-52D3CBCE18BA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719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The Brief</a:t>
            </a:r>
          </a:p>
        </p:txBody>
      </p:sp>
    </p:spTree>
    <p:extLst>
      <p:ext uri="{BB962C8B-B14F-4D97-AF65-F5344CB8AC3E}">
        <p14:creationId xmlns:p14="http://schemas.microsoft.com/office/powerpoint/2010/main" val="375166370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904756-E3B6-41CC-1417-73C540FA34EF}"/>
              </a:ext>
            </a:extLst>
          </p:cNvPr>
          <p:cNvSpPr txBox="1"/>
          <p:nvPr/>
        </p:nvSpPr>
        <p:spPr>
          <a:xfrm>
            <a:off x="672548" y="1863973"/>
            <a:ext cx="8087139" cy="3656578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/>
          <a:p>
            <a:pPr marL="241300" marR="0" lvl="0" indent="-22860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rovide</a:t>
            </a:r>
            <a:r>
              <a:rPr kumimoji="0" lang="en-US" b="0" i="0" u="none" strike="noStrike" kern="0" cap="none" spc="-1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nd</a:t>
            </a:r>
            <a:r>
              <a:rPr kumimoji="0" lang="en-US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create</a:t>
            </a:r>
            <a:r>
              <a:rPr kumimoji="0" lang="en-US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highly</a:t>
            </a:r>
            <a:r>
              <a:rPr kumimoji="0" lang="en-US" b="0" i="0" u="none" strike="noStrike" kern="0" cap="none" spc="-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desirable</a:t>
            </a:r>
            <a:r>
              <a:rPr kumimoji="0" lang="en-US" b="0" i="0" u="none" strike="noStrike" kern="0" cap="none" spc="-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content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41300" marR="0" lvl="0" indent="-22860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Utilise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</a:t>
            </a:r>
            <a:r>
              <a:rPr kumimoji="0" lang="en-US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unique</a:t>
            </a:r>
            <a:r>
              <a:rPr kumimoji="0" lang="en-US" b="0" i="0" u="none" strike="noStrike" kern="0" cap="none" spc="-4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editorial</a:t>
            </a:r>
            <a:r>
              <a:rPr kumimoji="0" lang="en-US" b="0" i="0" u="none" strike="noStrike" kern="0" cap="none" spc="-1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voice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41300" marR="0" lvl="0" indent="-22860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obile</a:t>
            </a:r>
            <a:r>
              <a:rPr kumimoji="0" lang="en-US" b="0" i="0" u="none" strike="noStrike" kern="0" cap="none" spc="-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irst approach to fan engagement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41300" marR="5080" lvl="0" indent="-228600" defTabSz="914400" eaLnBrk="1" fontAlgn="auto" latinLnBrk="0" hangingPunct="1">
              <a:lnSpc>
                <a:spcPts val="2400"/>
              </a:lnSpc>
              <a:spcBef>
                <a:spcPts val="1200"/>
              </a:spcBef>
              <a:spcAft>
                <a:spcPts val="12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Deeply</a:t>
            </a:r>
            <a:r>
              <a:rPr kumimoji="0" lang="en-US" b="0" i="0" u="none" strike="noStrike" kern="0" cap="none" spc="-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layered</a:t>
            </a:r>
            <a:r>
              <a:rPr kumimoji="0" lang="en-US" b="0" i="0" u="none" strike="noStrike" kern="0" cap="none" spc="-8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content</a:t>
            </a:r>
            <a:r>
              <a:rPr kumimoji="0" lang="en-US" b="0" i="0" u="none" strike="noStrike" kern="0" cap="none" spc="-1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hat</a:t>
            </a:r>
            <a:r>
              <a:rPr kumimoji="0" lang="en-US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is</a:t>
            </a:r>
            <a:r>
              <a:rPr kumimoji="0" lang="en-US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simple</a:t>
            </a:r>
            <a:r>
              <a:rPr kumimoji="0" lang="en-US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o</a:t>
            </a:r>
            <a:r>
              <a:rPr kumimoji="0" lang="en-US" b="0" i="0" u="none" strike="noStrike" kern="0" cap="none" spc="-4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ccess,</a:t>
            </a:r>
            <a:r>
              <a:rPr kumimoji="0" lang="en-US" b="0" i="0" u="none" strike="noStrike" kern="0" cap="none" spc="-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use</a:t>
            </a:r>
            <a:r>
              <a:rPr kumimoji="0" lang="en-US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nd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understand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41300" marR="0" lvl="0" indent="-228600" defTabSz="914400" eaLnBrk="1" fontAlgn="auto" latinLnBrk="0" hangingPunct="1">
              <a:lnSpc>
                <a:spcPts val="2575"/>
              </a:lnSpc>
              <a:spcBef>
                <a:spcPts val="1200"/>
              </a:spcBef>
              <a:spcAft>
                <a:spcPts val="12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Create</a:t>
            </a:r>
            <a:r>
              <a:rPr kumimoji="0" lang="en-US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ultiple</a:t>
            </a:r>
            <a:r>
              <a:rPr kumimoji="0" lang="en-US" b="0" i="0" u="none" strike="noStrike" kern="0" cap="none" spc="-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onetization</a:t>
            </a:r>
            <a:r>
              <a:rPr kumimoji="0" lang="en-US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oints using</a:t>
            </a:r>
            <a:r>
              <a:rPr kumimoji="0" lang="en-US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various</a:t>
            </a:r>
            <a:r>
              <a:rPr kumimoji="0" lang="en-US" b="0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ransaction</a:t>
            </a:r>
            <a:r>
              <a:rPr kumimoji="0" lang="en-US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method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41300" marR="97790" lvl="0" indent="-228600" defTabSz="914400" eaLnBrk="1" fontAlgn="auto" latinLnBrk="0" hangingPunct="1">
              <a:lnSpc>
                <a:spcPts val="2380"/>
              </a:lnSpc>
              <a:spcBef>
                <a:spcPts val="1200"/>
              </a:spcBef>
              <a:spcAft>
                <a:spcPts val="12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Create</a:t>
            </a:r>
            <a:r>
              <a:rPr kumimoji="0" lang="en-US" b="0" i="0" u="none" strike="noStrike" kern="0" cap="none" spc="-7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3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platform,</a:t>
            </a:r>
            <a:r>
              <a:rPr kumimoji="0" lang="en-US" b="0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udience</a:t>
            </a:r>
            <a:r>
              <a:rPr kumimoji="0" lang="en-US" b="0" i="0" u="none" strike="noStrike" kern="0" cap="none" spc="-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nd</a:t>
            </a: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marketing opportunities</a:t>
            </a:r>
            <a:r>
              <a:rPr kumimoji="0" lang="en-US" b="0" i="0" u="none" strike="noStrike" kern="0" cap="none" spc="-6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that</a:t>
            </a: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re </a:t>
            </a:r>
            <a:r>
              <a:rPr kumimoji="0" lang="en-US" b="0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highly</a:t>
            </a:r>
            <a:r>
              <a:rPr kumimoji="0" lang="en-US" b="0" i="0" u="none" strike="noStrike" kern="0" cap="none" spc="-10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desirable</a:t>
            </a:r>
            <a:r>
              <a:rPr kumimoji="0" lang="en-US" b="0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for</a:t>
            </a:r>
            <a:r>
              <a:rPr kumimoji="0" lang="en-US" b="0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dvertisers</a:t>
            </a:r>
            <a:r>
              <a:rPr kumimoji="0" lang="en-US" b="0" i="0" u="none" strike="noStrike" kern="0" cap="none" spc="-10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nd</a:t>
            </a:r>
            <a:r>
              <a:rPr kumimoji="0" lang="en-US" b="0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</a:t>
            </a: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brands.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494503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4" name="object 5">
            <a:extLst>
              <a:ext uri="{FF2B5EF4-FFF2-40B4-BE49-F238E27FC236}">
                <a16:creationId xmlns:a16="http://schemas.microsoft.com/office/drawing/2014/main" id="{C4DCD319-047C-48AB-B54F-669247215FE3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098698" y="669980"/>
            <a:ext cx="2514600" cy="5266944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0ADE0410-E62C-6CB5-4C47-1F056DDAA576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719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The Objectives</a:t>
            </a:r>
          </a:p>
        </p:txBody>
      </p:sp>
    </p:spTree>
    <p:extLst>
      <p:ext uri="{BB962C8B-B14F-4D97-AF65-F5344CB8AC3E}">
        <p14:creationId xmlns:p14="http://schemas.microsoft.com/office/powerpoint/2010/main" val="798197776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0CB45C-BAE6-FA05-F11A-441B3D7188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9324" y="6480556"/>
            <a:ext cx="5503353" cy="170688"/>
          </a:xfrm>
        </p:spPr>
        <p:txBody>
          <a:bodyPr/>
          <a:lstStyle/>
          <a:p>
            <a:pPr>
              <a:buNone/>
            </a:pPr>
            <a:r>
              <a:rPr lang="en-US" dirty="0"/>
              <a:t>BokSquad – WASPIE Awards Submission 2023</a:t>
            </a:r>
            <a:endParaRPr lang="en-Z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4972111-9FAB-E40A-1373-C9EAB3AC93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buNone/>
            </a:pPr>
            <a:endParaRPr lang="en-ZA" dirty="0"/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F3904756-E3B6-41CC-1417-73C540FA34EF}"/>
              </a:ext>
            </a:extLst>
          </p:cNvPr>
          <p:cNvSpPr txBox="1"/>
          <p:nvPr/>
        </p:nvSpPr>
        <p:spPr>
          <a:xfrm>
            <a:off x="672549" y="1863973"/>
            <a:ext cx="5423451" cy="3392595"/>
          </a:xfrm>
          <a:prstGeom prst="rect">
            <a:avLst/>
          </a:prstGeom>
        </p:spPr>
        <p:txBody>
          <a:bodyPr vert="horz" wrap="square" lIns="0" tIns="37465" rIns="0" bIns="0" rtlCol="0">
            <a:spAutoFit/>
          </a:bodyPr>
          <a:lstStyle/>
          <a:p>
            <a:pPr marL="241300" marR="0" lvl="0" indent="-2286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As a proudly South African brand, MTN is passionate about our country and the Springboks as our sporting heroes. </a:t>
            </a:r>
            <a:r>
              <a:rPr lang="en-US" kern="0" spc="-30" dirty="0">
                <a:solidFill>
                  <a:sysClr val="windowText" lastClr="000000"/>
                </a:solidFill>
                <a:latin typeface="+mj-lt"/>
                <a:cs typeface="Calibri"/>
              </a:rPr>
              <a:t>MTN</a:t>
            </a: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 joined the Bok's journey in 2017 and saw how the Boks brought a nation together in 2019 when they won the Rugby World Cup for a third time.</a:t>
            </a:r>
          </a:p>
          <a:p>
            <a:pPr marL="241300" marR="0" lvl="0" indent="-2286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endParaRPr kumimoji="0" lang="en-US" b="0" i="0" u="none" strike="noStrike" kern="0" cap="none" spc="-3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Calibri"/>
            </a:endParaRPr>
          </a:p>
          <a:p>
            <a:pPr marL="241300" marR="0" lvl="0" indent="-22860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7BC37"/>
              </a:buClr>
              <a:buSzTx/>
              <a:buFont typeface="Arial"/>
              <a:buChar char="•"/>
              <a:tabLst>
                <a:tab pos="240665" algn="l"/>
                <a:tab pos="241300" algn="l"/>
              </a:tabLst>
              <a:defRPr/>
            </a:pPr>
            <a:r>
              <a:rPr kumimoji="0" lang="en-US" b="0" i="0" u="none" strike="noStrike" kern="0" cap="none" spc="-3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Calibri"/>
              </a:rPr>
              <a:t>Our heroes are here and everyday they continue to unite our country to build a better South Africa.  Therefore, MTN are proud to continue our journey with the Boks until 2025.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6808273-0227-A141-8432-4FF6B21F8848}"/>
              </a:ext>
            </a:extLst>
          </p:cNvPr>
          <p:cNvCxnSpPr>
            <a:cxnSpLocks/>
          </p:cNvCxnSpPr>
          <p:nvPr/>
        </p:nvCxnSpPr>
        <p:spPr>
          <a:xfrm>
            <a:off x="0" y="1494503"/>
            <a:ext cx="1219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object 2">
            <a:extLst>
              <a:ext uri="{FF2B5EF4-FFF2-40B4-BE49-F238E27FC236}">
                <a16:creationId xmlns:a16="http://schemas.microsoft.com/office/drawing/2014/main" id="{0ADE0410-E62C-6CB5-4C47-1F056DDAA576}"/>
              </a:ext>
            </a:extLst>
          </p:cNvPr>
          <p:cNvSpPr txBox="1">
            <a:spLocks/>
          </p:cNvSpPr>
          <p:nvPr/>
        </p:nvSpPr>
        <p:spPr>
          <a:xfrm>
            <a:off x="631710" y="669980"/>
            <a:ext cx="10600055" cy="66184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 marR="5080">
              <a:lnSpc>
                <a:spcPts val="5010"/>
              </a:lnSpc>
              <a:spcBef>
                <a:spcPts val="690"/>
              </a:spcBef>
            </a:pPr>
            <a:r>
              <a:rPr lang="en-US" sz="4400" dirty="0">
                <a:latin typeface="MTN Brighter Sans Bold" pitchFamily="2" charset="77"/>
                <a:ea typeface="+mn-ea"/>
                <a:cs typeface="+mn-cs"/>
              </a:rPr>
              <a:t>Leveraging Sponsorship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E3BF84-480C-27C6-8C42-ABE1A30B52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7075" y="2350793"/>
            <a:ext cx="4827850" cy="2418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77FA384-5D0C-0C11-8C49-F3B326AEB0A7}"/>
              </a:ext>
            </a:extLst>
          </p:cNvPr>
          <p:cNvSpPr txBox="1"/>
          <p:nvPr/>
        </p:nvSpPr>
        <p:spPr>
          <a:xfrm>
            <a:off x="803621" y="5570809"/>
            <a:ext cx="1110279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dirty="0"/>
              <a:t>Official SARU Press Release: </a:t>
            </a:r>
            <a:r>
              <a:rPr lang="en-US" dirty="0">
                <a:hlinkClick r:id="rId3"/>
              </a:rPr>
              <a:t>Bomb Squad morphs into digital BokSquad for fans | SA Rugby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37640766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C6C4DE-65CD-A240-BDB2-7382EEB8B4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0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4E296D-8B4A-AE4F-803D-9698D15DA08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820395" y="2673984"/>
            <a:ext cx="3657237" cy="1403654"/>
          </a:xfrm>
        </p:spPr>
        <p:txBody>
          <a:bodyPr/>
          <a:lstStyle/>
          <a:p>
            <a:r>
              <a:rPr lang="en-GB" dirty="0"/>
              <a:t>The Product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C65B947-971C-3D4C-BE8A-E16874024E7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8D05D0F-020B-42EA-13FD-707F3D58D935}"/>
              </a:ext>
            </a:extLst>
          </p:cNvPr>
          <p:cNvGrpSpPr>
            <a:grpSpLocks noChangeAspect="1"/>
          </p:cNvGrpSpPr>
          <p:nvPr/>
        </p:nvGrpSpPr>
        <p:grpSpPr>
          <a:xfrm>
            <a:off x="8966531" y="5484233"/>
            <a:ext cx="2916000" cy="1033034"/>
            <a:chOff x="1543336" y="4626248"/>
            <a:chExt cx="5335255" cy="1890117"/>
          </a:xfrm>
        </p:grpSpPr>
        <p:pic>
          <p:nvPicPr>
            <p:cNvPr id="5" name="Picture 4" descr="Logo&#10;&#10;Description automatically generated">
              <a:extLst>
                <a:ext uri="{FF2B5EF4-FFF2-40B4-BE49-F238E27FC236}">
                  <a16:creationId xmlns:a16="http://schemas.microsoft.com/office/drawing/2014/main" id="{9B30CA32-08D6-C5B9-68CE-679907DA26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543336" y="4626248"/>
              <a:ext cx="2237828" cy="1890117"/>
            </a:xfrm>
            <a:prstGeom prst="rect">
              <a:avLst/>
            </a:prstGeom>
          </p:spPr>
        </p:pic>
        <p:pic>
          <p:nvPicPr>
            <p:cNvPr id="6" name="Picture 5" descr="Logo&#10;&#10;Description automatically generated">
              <a:extLst>
                <a:ext uri="{FF2B5EF4-FFF2-40B4-BE49-F238E27FC236}">
                  <a16:creationId xmlns:a16="http://schemas.microsoft.com/office/drawing/2014/main" id="{95614DE0-C78B-2DD0-68A1-C16084F3E80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20571" y="4851263"/>
              <a:ext cx="2758020" cy="1381763"/>
            </a:xfrm>
            <a:prstGeom prst="rect">
              <a:avLst/>
            </a:prstGeom>
          </p:spPr>
        </p:pic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1527E18F-1392-7F65-9412-F2DEEBC9BFD8}"/>
                </a:ext>
              </a:extLst>
            </p:cNvPr>
            <p:cNvCxnSpPr/>
            <p:nvPr/>
          </p:nvCxnSpPr>
          <p:spPr>
            <a:xfrm>
              <a:off x="3781164" y="4909589"/>
              <a:ext cx="0" cy="1323437"/>
            </a:xfrm>
            <a:prstGeom prst="line">
              <a:avLst/>
            </a:prstGeom>
            <a:noFill/>
            <a:ln w="9525" cap="flat">
              <a:solidFill>
                <a:srgbClr val="FFFFFF"/>
              </a:solidFill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2927114697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547866" y="2363215"/>
            <a:ext cx="4615180" cy="2162175"/>
          </a:xfrm>
          <a:prstGeom prst="rect">
            <a:avLst/>
          </a:prstGeom>
        </p:spPr>
        <p:txBody>
          <a:bodyPr vert="horz" wrap="square" lIns="0" tIns="53340" rIns="0" bIns="0" rtlCol="0">
            <a:spAutoFit/>
          </a:bodyPr>
          <a:lstStyle/>
          <a:p>
            <a:pPr marL="12700" marR="5080" lvl="0" indent="1097280" defTabSz="914400" eaLnBrk="1" fontAlgn="auto" latinLnBrk="0" hangingPunct="1">
              <a:lnSpc>
                <a:spcPts val="2600"/>
              </a:lnSpc>
              <a:spcBef>
                <a:spcPts val="4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2400" b="1" i="0" u="none" strike="noStrike" kern="0" cap="none" spc="-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largest</a:t>
            </a:r>
            <a:r>
              <a:rPr kumimoji="0" sz="2400" b="1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nd</a:t>
            </a:r>
            <a:r>
              <a:rPr kumimoji="0" sz="2400" b="1" i="0" u="none" strike="noStrike" kern="0" cap="none" spc="-6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most</a:t>
            </a:r>
            <a:r>
              <a:rPr kumimoji="0" sz="2400" b="1" i="0" u="none" strike="noStrike" kern="0" cap="none" spc="-5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loved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digital</a:t>
            </a:r>
            <a:r>
              <a:rPr kumimoji="0" sz="2400" b="1" i="0" u="none" strike="noStrike" kern="0" cap="none" spc="-1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destination</a:t>
            </a:r>
            <a:r>
              <a:rPr kumimoji="0" sz="2400" b="1" i="0" u="none" strike="noStrike" kern="0" cap="none" spc="-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or</a:t>
            </a:r>
            <a:r>
              <a:rPr kumimoji="0" sz="2400" b="1" i="0" u="none" strike="noStrike" kern="0" cap="none" spc="-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rugby</a:t>
            </a:r>
            <a:r>
              <a:rPr kumimoji="0" sz="2400" b="1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fans</a:t>
            </a:r>
            <a:r>
              <a:rPr kumimoji="0" sz="2400" b="1" i="0" u="none" strike="noStrike" kern="0" cap="none" spc="-9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-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will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22225" marR="0" lvl="0" indent="0" algn="ctr" defTabSz="914400" eaLnBrk="1" fontAlgn="auto" latinLnBrk="0" hangingPunct="1">
              <a:lnSpc>
                <a:spcPts val="443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=</a:t>
            </a:r>
            <a:endParaRPr kumimoji="0" sz="3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  <a:p>
            <a:pPr marL="215265" marR="207010" lvl="0" indent="0" algn="ctr" defTabSz="914400" eaLnBrk="1" fontAlgn="auto" latinLnBrk="0" hangingPunct="1">
              <a:lnSpc>
                <a:spcPts val="2600"/>
              </a:lnSpc>
              <a:spcBef>
                <a:spcPts val="17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the</a:t>
            </a:r>
            <a:r>
              <a:rPr kumimoji="0" sz="2400" b="1" i="0" u="none" strike="noStrike" kern="0" cap="none" spc="-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most</a:t>
            </a:r>
            <a:r>
              <a:rPr kumimoji="0" sz="2400" b="1" i="0" u="none" strike="noStrike" kern="0" cap="none" spc="-8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engaged,</a:t>
            </a:r>
            <a:r>
              <a:rPr kumimoji="0" sz="2400" b="1" i="0" u="none" strike="noStrike" kern="0" cap="none" spc="-5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dedicated</a:t>
            </a:r>
            <a:r>
              <a:rPr kumimoji="0" sz="2400" b="1" i="0" u="none" strike="noStrike" kern="0" cap="none" spc="-1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-2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nd </a:t>
            </a:r>
            <a:r>
              <a:rPr kumimoji="0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monetized</a:t>
            </a:r>
            <a:r>
              <a:rPr kumimoji="0" sz="2400" b="1" i="0" u="none" strike="noStrike" kern="0" cap="none" spc="-12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audience</a:t>
            </a:r>
            <a:r>
              <a:rPr kumimoji="0" sz="2400" b="1" i="0" u="none" strike="noStrike" kern="0" cap="none" spc="-95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 </a:t>
            </a:r>
            <a:r>
              <a:rPr kumimoji="0" sz="2400" b="1" i="0" u="none" strike="noStrike" kern="0" cap="none" spc="-1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cs typeface="Calibri"/>
              </a:rPr>
              <a:t>possible.</a:t>
            </a: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A5AC4F87-E271-EA31-7D11-942548A18D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8732" y="965778"/>
            <a:ext cx="5868957" cy="495704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57FDA06-4173-EBB9-1E65-9D3C4A83184C}"/>
              </a:ext>
            </a:extLst>
          </p:cNvPr>
          <p:cNvSpPr txBox="1"/>
          <p:nvPr/>
        </p:nvSpPr>
        <p:spPr>
          <a:xfrm>
            <a:off x="934311" y="3044279"/>
            <a:ext cx="3955740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ZA" sz="4400" b="1" dirty="0">
                <a:solidFill>
                  <a:srgbClr val="F7CF47"/>
                </a:solidFill>
                <a:latin typeface="MTN Brighter Sans ExtraBold" pitchFamily="2" charset="77"/>
              </a:rPr>
              <a:t>Introducing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ErYn84S3ax_OnNk.dIQ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pIXSaSYv64jZHmvVO7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S5U5W5Wfi3wmSxXQ2q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S5U5W5Wfi3wmSxXQ2qVQ"/>
</p:tagLst>
</file>

<file path=ppt/theme/theme1.xml><?xml version="1.0" encoding="utf-8"?>
<a:theme xmlns:a="http://schemas.openxmlformats.org/drawingml/2006/main" name="1_Content Slides_Option 1">
  <a:themeElements>
    <a:clrScheme name="MTN 2">
      <a:dk1>
        <a:srgbClr val="000000"/>
      </a:dk1>
      <a:lt1>
        <a:srgbClr val="FFFFFF"/>
      </a:lt1>
      <a:dk2>
        <a:srgbClr val="FFCB05"/>
      </a:dk2>
      <a:lt2>
        <a:srgbClr val="FFFFFF"/>
      </a:lt2>
      <a:accent1>
        <a:srgbClr val="FFCB05"/>
      </a:accent1>
      <a:accent2>
        <a:srgbClr val="000000"/>
      </a:accent2>
      <a:accent3>
        <a:srgbClr val="A0A0A0"/>
      </a:accent3>
      <a:accent4>
        <a:srgbClr val="004F70"/>
      </a:accent4>
      <a:accent5>
        <a:srgbClr val="BDBDBD"/>
      </a:accent5>
      <a:accent6>
        <a:srgbClr val="636363"/>
      </a:accent6>
      <a:hlink>
        <a:srgbClr val="00678F"/>
      </a:hlink>
      <a:folHlink>
        <a:srgbClr val="666666"/>
      </a:folHlink>
    </a:clrScheme>
    <a:fontScheme name="Custom 1">
      <a:majorFont>
        <a:latin typeface="MTN Brighter Sans"/>
        <a:ea typeface=""/>
        <a:cs typeface=""/>
      </a:majorFont>
      <a:minorFont>
        <a:latin typeface="MTN Brighter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_PPT Template_20171219.potx" id="{7522311C-6251-44DA-95D9-A34EC3E34410}" vid="{CFDB710E-1A66-416D-B954-10BD232F427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 Theme">
      <a:dk1>
        <a:srgbClr val="000000"/>
      </a:dk1>
      <a:lt1>
        <a:srgbClr val="FFCD05"/>
      </a:lt1>
      <a:dk2>
        <a:srgbClr val="A7A7A7"/>
      </a:dk2>
      <a:lt2>
        <a:srgbClr val="535353"/>
      </a:lt2>
      <a:accent1>
        <a:srgbClr val="72939C"/>
      </a:accent1>
      <a:accent2>
        <a:srgbClr val="DEDAD7"/>
      </a:accent2>
      <a:accent3>
        <a:srgbClr val="8A8A8A"/>
      </a:accent3>
      <a:accent4>
        <a:srgbClr val="545C5F"/>
      </a:accent4>
      <a:accent5>
        <a:srgbClr val="F7ABAD"/>
      </a:accent5>
      <a:accent6>
        <a:srgbClr val="FADB26"/>
      </a:accent6>
      <a:hlink>
        <a:srgbClr val="0000FF"/>
      </a:hlink>
      <a:folHlink>
        <a:srgbClr val="FF00FF"/>
      </a:folHlink>
    </a:clrScheme>
    <a:fontScheme name="Office Theme">
      <a:majorFont>
        <a:latin typeface="MTN Brighter Sans Bold"/>
        <a:ea typeface="MTN Brighter Sans Bold"/>
        <a:cs typeface="MTN Brighter Sans Bold"/>
      </a:majorFont>
      <a:minorFont>
        <a:latin typeface="MTN Brighter Sans Bold"/>
        <a:ea typeface="MTN Brighter Sans Bold"/>
        <a:cs typeface="MTN Brighter Sans Bold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D05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2_Content Slides_Option 1">
  <a:themeElements>
    <a:clrScheme name="MTN 2">
      <a:dk1>
        <a:srgbClr val="000000"/>
      </a:dk1>
      <a:lt1>
        <a:srgbClr val="FFFFFF"/>
      </a:lt1>
      <a:dk2>
        <a:srgbClr val="FFCB05"/>
      </a:dk2>
      <a:lt2>
        <a:srgbClr val="FFFFFF"/>
      </a:lt2>
      <a:accent1>
        <a:srgbClr val="FFCB05"/>
      </a:accent1>
      <a:accent2>
        <a:srgbClr val="000000"/>
      </a:accent2>
      <a:accent3>
        <a:srgbClr val="A0A0A0"/>
      </a:accent3>
      <a:accent4>
        <a:srgbClr val="004F70"/>
      </a:accent4>
      <a:accent5>
        <a:srgbClr val="BDBDBD"/>
      </a:accent5>
      <a:accent6>
        <a:srgbClr val="636363"/>
      </a:accent6>
      <a:hlink>
        <a:srgbClr val="00678F"/>
      </a:hlink>
      <a:folHlink>
        <a:srgbClr val="666666"/>
      </a:folHlink>
    </a:clrScheme>
    <a:fontScheme name="Custom 5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_PPT Template_20171219.potx" id="{7522311C-6251-44DA-95D9-A34EC3E34410}" vid="{CFDB710E-1A66-416D-B954-10BD232F427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TN July 2021 Master">
  <a:themeElements>
    <a:clrScheme name="MTN Reversed Feb 2022">
      <a:dk1>
        <a:srgbClr val="FFFFFF"/>
      </a:dk1>
      <a:lt1>
        <a:srgbClr val="000000"/>
      </a:lt1>
      <a:dk2>
        <a:srgbClr val="FFFFFF"/>
      </a:dk2>
      <a:lt2>
        <a:srgbClr val="000000"/>
      </a:lt2>
      <a:accent1>
        <a:srgbClr val="FFCB05"/>
      </a:accent1>
      <a:accent2>
        <a:srgbClr val="666666"/>
      </a:accent2>
      <a:accent3>
        <a:srgbClr val="00678F"/>
      </a:accent3>
      <a:accent4>
        <a:srgbClr val="000000"/>
      </a:accent4>
      <a:accent5>
        <a:srgbClr val="999999"/>
      </a:accent5>
      <a:accent6>
        <a:srgbClr val="FF0000"/>
      </a:accent6>
      <a:hlink>
        <a:srgbClr val="00678F"/>
      </a:hlink>
      <a:folHlink>
        <a:srgbClr val="666666"/>
      </a:folHlink>
    </a:clrScheme>
    <a:fontScheme name="MTN Jan 2018">
      <a:majorFont>
        <a:latin typeface="MTN Brighter Sans Bold"/>
        <a:ea typeface=""/>
        <a:cs typeface=""/>
      </a:majorFont>
      <a:minorFont>
        <a:latin typeface="MTN Brighter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N Jan 2018 Concept 01" id="{6CA29232-EE5B-451F-A133-B91E8632AB67}" vid="{24CB43DD-B824-4C71-A66B-39B89A1313B7}"/>
    </a:ext>
  </a:extLst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B57B552B51D24CBF97BC721FD7DC20" ma:contentTypeVersion="16" ma:contentTypeDescription="Create a new document." ma:contentTypeScope="" ma:versionID="09b1fc4352fb850faa87eba4fbecf3cb">
  <xsd:schema xmlns:xsd="http://www.w3.org/2001/XMLSchema" xmlns:xs="http://www.w3.org/2001/XMLSchema" xmlns:p="http://schemas.microsoft.com/office/2006/metadata/properties" xmlns:ns2="ef8fc879-93c3-4b32-97dc-f2b540e845df" xmlns:ns3="10ef9f22-669e-48e6-a0a1-322da236e156" targetNamespace="http://schemas.microsoft.com/office/2006/metadata/properties" ma:root="true" ma:fieldsID="772d2161636b2fe51e922fcd6170694f" ns2:_="" ns3:_="">
    <xsd:import namespace="ef8fc879-93c3-4b32-97dc-f2b540e845df"/>
    <xsd:import namespace="10ef9f22-669e-48e6-a0a1-322da236e1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8fc879-93c3-4b32-97dc-f2b540e845d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31ccbd76-3423-419e-b80f-26549998fee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ef9f22-669e-48e6-a0a1-322da236e156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dee6c77-b5a2-4250-8b26-a23c222b56a3}" ma:internalName="TaxCatchAll" ma:showField="CatchAllData" ma:web="10ef9f22-669e-48e6-a0a1-322da236e1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0ef9f22-669e-48e6-a0a1-322da236e156" xsi:nil="true"/>
    <lcf76f155ced4ddcb4097134ff3c332f xmlns="ef8fc879-93c3-4b32-97dc-f2b540e845d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4D21E34A-3CE9-4C42-AC2A-5352EFCBA99A}">
  <ds:schemaRefs>
    <ds:schemaRef ds:uri="10ef9f22-669e-48e6-a0a1-322da236e156"/>
    <ds:schemaRef ds:uri="ef8fc879-93c3-4b32-97dc-f2b540e845d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D1D277E-7B00-4629-BA0C-DE68475F306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7D1733-E338-4977-91F3-B1CEAD931247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  <ds:schemaRef ds:uri="ef8fc879-93c3-4b32-97dc-f2b540e845df"/>
    <ds:schemaRef ds:uri="http://schemas.microsoft.com/office/infopath/2007/PartnerControls"/>
    <ds:schemaRef ds:uri="10ef9f22-669e-48e6-a0a1-322da236e156"/>
    <ds:schemaRef ds:uri="http://purl.org/dc/dcmitype/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18</Words>
  <Application>Microsoft Office PowerPoint</Application>
  <PresentationFormat>Widescreen</PresentationFormat>
  <Paragraphs>219</Paragraphs>
  <Slides>37</Slides>
  <Notes>0</Notes>
  <HiddenSlides>0</HiddenSlides>
  <MMClips>5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7</vt:i4>
      </vt:variant>
    </vt:vector>
  </HeadingPairs>
  <TitlesOfParts>
    <vt:vector size="63" baseType="lpstr">
      <vt:lpstr>Arial</vt:lpstr>
      <vt:lpstr>Averta for TBWA Light</vt:lpstr>
      <vt:lpstr>Averta for TBWA Regular</vt:lpstr>
      <vt:lpstr>Calibri</vt:lpstr>
      <vt:lpstr>Calibri Light</vt:lpstr>
      <vt:lpstr>Century Gothic</vt:lpstr>
      <vt:lpstr>Gill Sans</vt:lpstr>
      <vt:lpstr>Helvetica</vt:lpstr>
      <vt:lpstr>Helvetica Neue</vt:lpstr>
      <vt:lpstr>Helvetica Neue Light</vt:lpstr>
      <vt:lpstr>Helvetica Neue Medium</vt:lpstr>
      <vt:lpstr>MTN Brighter Sans</vt:lpstr>
      <vt:lpstr>MTN Brighter Sans Bold</vt:lpstr>
      <vt:lpstr>MTN Brighter Sans ExtraBold</vt:lpstr>
      <vt:lpstr>MTN Brighter Sans Light</vt:lpstr>
      <vt:lpstr>MTN Brighter Sans Regular</vt:lpstr>
      <vt:lpstr>SF Pro Display</vt:lpstr>
      <vt:lpstr>1_Content Slides_Option 1</vt:lpstr>
      <vt:lpstr>Custom Design</vt:lpstr>
      <vt:lpstr>1_Office Theme</vt:lpstr>
      <vt:lpstr>2_Content Slides_Option 1</vt:lpstr>
      <vt:lpstr>Office Theme</vt:lpstr>
      <vt:lpstr>MTN July 2021 Master</vt:lpstr>
      <vt:lpstr>1_Custom Design</vt:lpstr>
      <vt:lpstr>think-cell Slide</vt:lpstr>
      <vt:lpstr>Bitmap Imag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does being a Bok fan mean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an Experience</vt:lpstr>
      <vt:lpstr>PowerPoint Presentation</vt:lpstr>
      <vt:lpstr>Stadium Activations</vt:lpstr>
      <vt:lpstr>Subscriber Acquisition Campaigns (OnePin)</vt:lpstr>
      <vt:lpstr>Y’ello Trader Magazine Covers</vt:lpstr>
      <vt:lpstr>Y’ello Trader Adverts</vt:lpstr>
      <vt:lpstr>Y’ello Trader Adverts</vt:lpstr>
      <vt:lpstr>Digital Acquisition Campaigns</vt:lpstr>
      <vt:lpstr>Social Media</vt:lpstr>
      <vt:lpstr>Y’ello TV Advert</vt:lpstr>
      <vt:lpstr>PowerPoint Presentation</vt:lpstr>
      <vt:lpstr>The Results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Sean Bracegirdle</dc:creator>
  <cp:keywords/>
  <dc:description/>
  <cp:lastModifiedBy>Brendt Brooks</cp:lastModifiedBy>
  <cp:revision>103</cp:revision>
  <cp:lastPrinted>2022-06-14T11:17:53Z</cp:lastPrinted>
  <dcterms:created xsi:type="dcterms:W3CDTF">2022-02-23T13:07:29Z</dcterms:created>
  <dcterms:modified xsi:type="dcterms:W3CDTF">2023-02-27T15:03:2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7B57B552B51D24CBF97BC721FD7DC20</vt:lpwstr>
  </property>
  <property fmtid="{D5CDD505-2E9C-101B-9397-08002B2CF9AE}" pid="3" name="MediaServiceImageTags">
    <vt:lpwstr/>
  </property>
  <property fmtid="{D5CDD505-2E9C-101B-9397-08002B2CF9AE}" pid="4" name="MSIP_Label_19bc6dc8-488c-4e0a-9612-ac291bc2f8f8_Enabled">
    <vt:lpwstr>true</vt:lpwstr>
  </property>
  <property fmtid="{D5CDD505-2E9C-101B-9397-08002B2CF9AE}" pid="5" name="MSIP_Label_19bc6dc8-488c-4e0a-9612-ac291bc2f8f8_SetDate">
    <vt:lpwstr>2022-10-05T17:16:50Z</vt:lpwstr>
  </property>
  <property fmtid="{D5CDD505-2E9C-101B-9397-08002B2CF9AE}" pid="6" name="MSIP_Label_19bc6dc8-488c-4e0a-9612-ac291bc2f8f8_Method">
    <vt:lpwstr>Privileged</vt:lpwstr>
  </property>
  <property fmtid="{D5CDD505-2E9C-101B-9397-08002B2CF9AE}" pid="7" name="MSIP_Label_19bc6dc8-488c-4e0a-9612-ac291bc2f8f8_Name">
    <vt:lpwstr>MTN ZA - Internal</vt:lpwstr>
  </property>
  <property fmtid="{D5CDD505-2E9C-101B-9397-08002B2CF9AE}" pid="8" name="MSIP_Label_19bc6dc8-488c-4e0a-9612-ac291bc2f8f8_SiteId">
    <vt:lpwstr>c9b9cb50-3644-4db4-a267-fa84df2f4ceb</vt:lpwstr>
  </property>
  <property fmtid="{D5CDD505-2E9C-101B-9397-08002B2CF9AE}" pid="9" name="MSIP_Label_19bc6dc8-488c-4e0a-9612-ac291bc2f8f8_ActionId">
    <vt:lpwstr>9559fdb2-83be-407e-b049-e3ee139d7453</vt:lpwstr>
  </property>
  <property fmtid="{D5CDD505-2E9C-101B-9397-08002B2CF9AE}" pid="10" name="MSIP_Label_19bc6dc8-488c-4e0a-9612-ac291bc2f8f8_ContentBits">
    <vt:lpwstr>2</vt:lpwstr>
  </property>
  <property fmtid="{D5CDD505-2E9C-101B-9397-08002B2CF9AE}" pid="11" name="ClassificationContentMarkingFooterLocations">
    <vt:lpwstr>1_Content Slides_Option 1:3\1_Office Theme:18\2_Content Slides_Option 1:3</vt:lpwstr>
  </property>
  <property fmtid="{D5CDD505-2E9C-101B-9397-08002B2CF9AE}" pid="12" name="ClassificationContentMarkingFooterText">
    <vt:lpwstr>Sensitivity: MTN South Africa - Internal</vt:lpwstr>
  </property>
</Properties>
</file>